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</p:sldMasterIdLst>
  <p:notesMasterIdLst>
    <p:notesMasterId r:id="rId13"/>
  </p:notesMasterIdLst>
  <p:sldIdLst>
    <p:sldId id="279" r:id="rId2"/>
    <p:sldId id="4607" r:id="rId3"/>
    <p:sldId id="3520" r:id="rId4"/>
    <p:sldId id="281" r:id="rId5"/>
    <p:sldId id="4825" r:id="rId6"/>
    <p:sldId id="4223" r:id="rId7"/>
    <p:sldId id="5164" r:id="rId8"/>
    <p:sldId id="3982" r:id="rId9"/>
    <p:sldId id="3983" r:id="rId10"/>
    <p:sldId id="5163" r:id="rId11"/>
    <p:sldId id="5157" r:id="rId12"/>
  </p:sldIdLst>
  <p:sldSz cx="12192000" cy="6858000"/>
  <p:notesSz cx="6858000" cy="9144000"/>
  <p:custDataLst>
    <p:tags r:id="rId14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nis, Stefanos" initials="SS" lastIdx="1" clrIdx="0">
    <p:extLst>
      <p:ext uri="{19B8F6BF-5375-455C-9EA6-DF929625EA0E}">
        <p15:presenceInfo xmlns:p15="http://schemas.microsoft.com/office/powerpoint/2012/main" userId="Sinis, Stefano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A6FE"/>
    <a:srgbClr val="0196C0"/>
    <a:srgbClr val="1F465F"/>
    <a:srgbClr val="0070C0"/>
    <a:srgbClr val="0066B0"/>
    <a:srgbClr val="006EBD"/>
    <a:srgbClr val="0192FF"/>
    <a:srgbClr val="57B7FF"/>
    <a:srgbClr val="3494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0" autoAdjust="0"/>
    <p:restoredTop sz="94660"/>
  </p:normalViewPr>
  <p:slideViewPr>
    <p:cSldViewPr snapToGrid="0">
      <p:cViewPr>
        <p:scale>
          <a:sx n="63" d="100"/>
          <a:sy n="63" d="100"/>
        </p:scale>
        <p:origin x="2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EF8A55-374D-4438-862E-BAD8376025DF}" type="datetimeFigureOut">
              <a:rPr lang="el-GR" smtClean="0"/>
              <a:t>9/9/2020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377A59-5D51-4E68-B829-D74EB05DE6E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146467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670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951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1567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499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16" name="Group 15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17" name="Straight Connector 16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4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5" name="Isosceles Triangle 24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8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9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0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1" name="Isosceles Triangle 30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34" name="Isosceles Triangle 33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B8419EFE-F936-47E6-9B99-1F802F04BA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6175" t="29355" r="9603" b="19558"/>
          <a:stretch/>
        </p:blipFill>
        <p:spPr>
          <a:xfrm>
            <a:off x="3568183" y="892035"/>
            <a:ext cx="3286103" cy="1006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1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445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629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94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5523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054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7844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9656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3043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420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8930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31574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6575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1345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39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87996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45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31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608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Isosceles Triangle 19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grpSp>
        <p:nvGrpSpPr>
          <p:cNvPr id="26" name="Group 25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Isosceles Triangle 34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36" name="Picture 35" descr="A close up of a logo&#10;&#10;Description automatically generated">
            <a:extLst>
              <a:ext uri="{FF2B5EF4-FFF2-40B4-BE49-F238E27FC236}">
                <a16:creationId xmlns:a16="http://schemas.microsoft.com/office/drawing/2014/main" id="{7BF6C005-03F3-4B19-907E-858DF5924B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6175" t="29355" r="9603" b="19558"/>
          <a:stretch/>
        </p:blipFill>
        <p:spPr>
          <a:xfrm>
            <a:off x="4163484" y="2843665"/>
            <a:ext cx="3865032" cy="118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77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87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3568183" y="5890342"/>
            <a:ext cx="7591681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68183" y="5178206"/>
            <a:ext cx="7591681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568183" y="2054548"/>
            <a:ext cx="7591681" cy="284771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-8467"/>
            <a:ext cx="12191997" cy="6866467"/>
            <a:chOff x="0" y="-8467"/>
            <a:chExt cx="12191997" cy="6866467"/>
          </a:xfrm>
        </p:grpSpPr>
        <p:grpSp>
          <p:nvGrpSpPr>
            <p:cNvPr id="24" name="Group 23"/>
            <p:cNvGrpSpPr/>
            <p:nvPr userDrawn="1"/>
          </p:nvGrpSpPr>
          <p:grpSpPr>
            <a:xfrm rot="10800000">
              <a:off x="0" y="-8467"/>
              <a:ext cx="4766733" cy="6866467"/>
              <a:chOff x="7425267" y="-8467"/>
              <a:chExt cx="4766733" cy="6866467"/>
            </a:xfrm>
          </p:grpSpPr>
          <p:cxnSp>
            <p:nvCxnSpPr>
              <p:cNvPr id="26" name="Straight Connector 25"/>
              <p:cNvCxnSpPr/>
              <p:nvPr/>
            </p:nvCxnSpPr>
            <p:spPr>
              <a:xfrm>
                <a:off x="9371012" y="0"/>
                <a:ext cx="1219200" cy="6858000"/>
              </a:xfrm>
              <a:prstGeom prst="line">
                <a:avLst/>
              </a:prstGeom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 flipH="1">
                <a:off x="7425267" y="3681413"/>
                <a:ext cx="4763558" cy="3176587"/>
              </a:xfrm>
              <a:prstGeom prst="line">
                <a:avLst/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Rectangle 23"/>
              <p:cNvSpPr/>
              <p:nvPr/>
            </p:nvSpPr>
            <p:spPr>
              <a:xfrm>
                <a:off x="9181476" y="-8467"/>
                <a:ext cx="3007349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3007349" h="6866467">
                    <a:moveTo>
                      <a:pt x="2045532" y="0"/>
                    </a:moveTo>
                    <a:lnTo>
                      <a:pt x="3007349" y="0"/>
                    </a:lnTo>
                    <a:lnTo>
                      <a:pt x="3007349" y="6866467"/>
                    </a:lnTo>
                    <a:lnTo>
                      <a:pt x="0" y="6866467"/>
                    </a:lnTo>
                    <a:lnTo>
                      <a:pt x="2045532" y="0"/>
                    </a:lnTo>
                    <a:close/>
                  </a:path>
                </a:pathLst>
              </a:custGeom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29" name="Rectangle 25"/>
              <p:cNvSpPr/>
              <p:nvPr/>
            </p:nvSpPr>
            <p:spPr>
              <a:xfrm>
                <a:off x="9603442" y="-8467"/>
                <a:ext cx="2588558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573311" h="6866467">
                    <a:moveTo>
                      <a:pt x="0" y="0"/>
                    </a:moveTo>
                    <a:lnTo>
                      <a:pt x="2573311" y="0"/>
                    </a:lnTo>
                    <a:lnTo>
                      <a:pt x="2573311" y="6866467"/>
                    </a:lnTo>
                    <a:lnTo>
                      <a:pt x="1202336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2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0" name="Isosceles Triangle 29"/>
              <p:cNvSpPr/>
              <p:nvPr userDrawn="1"/>
            </p:nvSpPr>
            <p:spPr>
              <a:xfrm>
                <a:off x="8932333" y="3048000"/>
                <a:ext cx="3259667" cy="3810000"/>
              </a:xfrm>
              <a:prstGeom prst="triangle">
                <a:avLst>
                  <a:gd name="adj" fmla="val 100000"/>
                </a:avLst>
              </a:prstGeom>
              <a:solidFill>
                <a:schemeClr val="accent2">
                  <a:alpha val="72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1" name="Rectangle 27"/>
              <p:cNvSpPr/>
              <p:nvPr/>
            </p:nvSpPr>
            <p:spPr>
              <a:xfrm>
                <a:off x="9334500" y="-8467"/>
                <a:ext cx="2854326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2858013" h="6866467">
                    <a:moveTo>
                      <a:pt x="0" y="0"/>
                    </a:moveTo>
                    <a:lnTo>
                      <a:pt x="2858013" y="0"/>
                    </a:lnTo>
                    <a:lnTo>
                      <a:pt x="2858013" y="6866467"/>
                    </a:lnTo>
                    <a:lnTo>
                      <a:pt x="2473942" y="686646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2" name="Rectangle 28"/>
              <p:cNvSpPr/>
              <p:nvPr/>
            </p:nvSpPr>
            <p:spPr>
              <a:xfrm>
                <a:off x="10898730" y="-8467"/>
                <a:ext cx="1290094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90094" h="6858000">
                    <a:moveTo>
                      <a:pt x="1019735" y="0"/>
                    </a:moveTo>
                    <a:lnTo>
                      <a:pt x="1290094" y="0"/>
                    </a:lnTo>
                    <a:lnTo>
                      <a:pt x="1290094" y="6858000"/>
                    </a:lnTo>
                    <a:lnTo>
                      <a:pt x="0" y="6858000"/>
                    </a:lnTo>
                    <a:lnTo>
                      <a:pt x="101973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7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3" name="Rectangle 29"/>
              <p:cNvSpPr/>
              <p:nvPr userDrawn="1"/>
            </p:nvSpPr>
            <p:spPr>
              <a:xfrm>
                <a:off x="10938999" y="-8467"/>
                <a:ext cx="1249825" cy="6866467"/>
              </a:xfrm>
              <a:custGeom>
                <a:avLst/>
                <a:gdLst/>
                <a:ahLst/>
                <a:cxnLst/>
                <a:rect l="l" t="t" r="r" b="b"/>
                <a:pathLst>
                  <a:path w="1249825" h="6858000">
                    <a:moveTo>
                      <a:pt x="0" y="0"/>
                    </a:moveTo>
                    <a:lnTo>
                      <a:pt x="1249825" y="0"/>
                    </a:lnTo>
                    <a:lnTo>
                      <a:pt x="1249825" y="6858000"/>
                    </a:lnTo>
                    <a:lnTo>
                      <a:pt x="1109382" y="6858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alpha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34" name="Isosceles Triangle 33"/>
              <p:cNvSpPr/>
              <p:nvPr userDrawn="1"/>
            </p:nvSpPr>
            <p:spPr>
              <a:xfrm>
                <a:off x="10371666" y="3589867"/>
                <a:ext cx="1817159" cy="3268133"/>
              </a:xfrm>
              <a:prstGeom prst="triangle">
                <a:avLst>
                  <a:gd name="adj" fmla="val 10000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  <p:sp>
          <p:nvSpPr>
            <p:cNvPr id="25" name="Isosceles Triangle 24"/>
            <p:cNvSpPr/>
            <p:nvPr userDrawn="1"/>
          </p:nvSpPr>
          <p:spPr>
            <a:xfrm>
              <a:off x="11349401" y="1191845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8183" y="892035"/>
            <a:ext cx="3286102" cy="980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09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98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635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51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985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29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34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2495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0521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198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31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1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8512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07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9882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8299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345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92607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89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7985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963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751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720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6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37864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01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1359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97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78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62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99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7425267" y="-8467"/>
            <a:ext cx="4766733" cy="6866467"/>
            <a:chOff x="7425267" y="-8467"/>
            <a:chExt cx="4766733" cy="686646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Isosceles Triangle 1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Isosceles Triangle 2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2" name="TextBox 21"/>
          <p:cNvSpPr txBox="1"/>
          <p:nvPr userDrawn="1"/>
        </p:nvSpPr>
        <p:spPr>
          <a:xfrm>
            <a:off x="3937000" y="3693054"/>
            <a:ext cx="4318000" cy="11049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800" dirty="0">
                <a:solidFill>
                  <a:schemeClr val="tx1"/>
                </a:solidFill>
              </a:rPr>
              <a:t>Thank you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 rot="10800000">
            <a:off x="0" y="-8467"/>
            <a:ext cx="4766733" cy="6866467"/>
            <a:chOff x="7425267" y="-8467"/>
            <a:chExt cx="4766733" cy="6866467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Isosceles Triangle 31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484" y="1937860"/>
            <a:ext cx="3865032" cy="1153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28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19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466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983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46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62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7105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5784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296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476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54156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280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1479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956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1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0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83774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8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37.xml"/><Relationship Id="rId7" Type="http://schemas.openxmlformats.org/officeDocument/2006/relationships/oleObject" Target="../embeddings/oleObject23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8.xml"/><Relationship Id="rId4" Type="http://schemas.openxmlformats.org/officeDocument/2006/relationships/tags" Target="../tags/tag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158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3"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kumimoji="0" lang="el-GR" sz="48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568184" y="5890342"/>
            <a:ext cx="6752976" cy="327148"/>
          </a:xfrm>
        </p:spPr>
        <p:txBody>
          <a:bodyPr/>
          <a:lstStyle/>
          <a:p>
            <a:r>
              <a:rPr lang="el-GR" dirty="0"/>
              <a:t>ΣΕΠΤΕΜΒΡΙΟΣ 2020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l-GR" sz="4800" dirty="0"/>
              <a:t>Σχέδιο δίκαιης αναπτυξιακής μετάβασης των λιγνιτικών περιοχών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6990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8182D6-4FF5-483C-9354-69783BD1A2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19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5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DC87AD-7741-4A28-9EBB-0FFAC7DA33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4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B75218-2CCE-44A9-9FBA-8325A77A4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473940"/>
            <a:ext cx="10933200" cy="470898"/>
          </a:xfrm>
        </p:spPr>
        <p:txBody>
          <a:bodyPr/>
          <a:lstStyle/>
          <a:p>
            <a:r>
              <a:rPr lang="el-GR" dirty="0"/>
              <a:t>Πλάνο χρηματοδότησης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477325-2235-4D7D-94D6-145EB809766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607"/>
          <a:stretch/>
        </p:blipFill>
        <p:spPr>
          <a:xfrm>
            <a:off x="2081887" y="1093699"/>
            <a:ext cx="8028225" cy="529036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C316E80E-7EC0-4DC2-B344-56715DE66390}"/>
              </a:ext>
            </a:extLst>
          </p:cNvPr>
          <p:cNvSpPr/>
          <p:nvPr/>
        </p:nvSpPr>
        <p:spPr>
          <a:xfrm>
            <a:off x="243840" y="6500773"/>
            <a:ext cx="1194816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100" dirty="0"/>
              <a:t> 1. Συντελεστής μόχλευσης 1,64; 2. Ποσοστό 4,3 % των συνολικών πόρων κατευθύνεται προς την Ελλάδα (Φίρμπας)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41010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57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>
            <a:extLst>
              <a:ext uri="{FF2B5EF4-FFF2-40B4-BE49-F238E27FC236}">
                <a16:creationId xmlns:a16="http://schemas.microsoft.com/office/drawing/2014/main" id="{40D0C2EB-BD79-4086-B938-51B92F159B7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096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98"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52" name="Object 51" hidden="1">
                        <a:extLst>
                          <a:ext uri="{FF2B5EF4-FFF2-40B4-BE49-F238E27FC236}">
                            <a16:creationId xmlns:a16="http://schemas.microsoft.com/office/drawing/2014/main" id="{40D0C2EB-BD79-4086-B938-51B92F159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447393DB-91AE-42AB-923C-D94C1DED5A5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4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4673646" cy="941796"/>
          </a:xfrm>
        </p:spPr>
        <p:txBody>
          <a:bodyPr/>
          <a:lstStyle/>
          <a:p>
            <a:r>
              <a:rPr lang="el-GR" dirty="0"/>
              <a:t>Οι κύριοι λόγοι για την </a:t>
            </a:r>
            <a:r>
              <a:rPr lang="el-GR" dirty="0" err="1"/>
              <a:t>απολιγνιτοποίηση</a:t>
            </a:r>
            <a:r>
              <a:rPr lang="el-GR" dirty="0"/>
              <a:t>…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FDD539E-CB47-42BF-BB85-5DEB9EBDAAF5}"/>
              </a:ext>
            </a:extLst>
          </p:cNvPr>
          <p:cNvGrpSpPr/>
          <p:nvPr/>
        </p:nvGrpSpPr>
        <p:grpSpPr>
          <a:xfrm>
            <a:off x="654638" y="2998108"/>
            <a:ext cx="695799" cy="695799"/>
            <a:chOff x="3520368" y="1980631"/>
            <a:chExt cx="1018720" cy="101872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C2F0964-0980-4BC2-98AA-60C30C8103E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0368" y="1980631"/>
              <a:ext cx="1018720" cy="1018720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2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14" name="bcgIcons_PlantTree">
              <a:extLst>
                <a:ext uri="{FF2B5EF4-FFF2-40B4-BE49-F238E27FC236}">
                  <a16:creationId xmlns:a16="http://schemas.microsoft.com/office/drawing/2014/main" id="{BAC76A21-E7A1-42C4-AE5D-056C0E9DDF2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80548" y="2140488"/>
              <a:ext cx="698359" cy="699005"/>
              <a:chOff x="1682" y="0"/>
              <a:chExt cx="4316" cy="4320"/>
            </a:xfrm>
          </p:grpSpPr>
          <p:sp>
            <p:nvSpPr>
              <p:cNvPr id="15" name="AutoShape 33">
                <a:extLst>
                  <a:ext uri="{FF2B5EF4-FFF2-40B4-BE49-F238E27FC236}">
                    <a16:creationId xmlns:a16="http://schemas.microsoft.com/office/drawing/2014/main" id="{BB8B41E5-D45B-485B-B312-1A44012BB71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6" name="Freeform 35">
                <a:extLst>
                  <a:ext uri="{FF2B5EF4-FFF2-40B4-BE49-F238E27FC236}">
                    <a16:creationId xmlns:a16="http://schemas.microsoft.com/office/drawing/2014/main" id="{05C1AF67-A1B6-4DCA-880E-71663A2604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6" y="533"/>
                <a:ext cx="3308" cy="3003"/>
              </a:xfrm>
              <a:custGeom>
                <a:avLst/>
                <a:gdLst>
                  <a:gd name="T0" fmla="*/ 1593 w 1766"/>
                  <a:gd name="T1" fmla="*/ 1139 h 1602"/>
                  <a:gd name="T2" fmla="*/ 1358 w 1766"/>
                  <a:gd name="T3" fmla="*/ 1054 h 1602"/>
                  <a:gd name="T4" fmla="*/ 1528 w 1766"/>
                  <a:gd name="T5" fmla="*/ 845 h 1602"/>
                  <a:gd name="T6" fmla="*/ 1535 w 1766"/>
                  <a:gd name="T7" fmla="*/ 679 h 1602"/>
                  <a:gd name="T8" fmla="*/ 1148 w 1766"/>
                  <a:gd name="T9" fmla="*/ 129 h 1602"/>
                  <a:gd name="T10" fmla="*/ 1202 w 1766"/>
                  <a:gd name="T11" fmla="*/ 0 h 1602"/>
                  <a:gd name="T12" fmla="*/ 1148 w 1766"/>
                  <a:gd name="T13" fmla="*/ 129 h 1602"/>
                  <a:gd name="T14" fmla="*/ 245 w 1766"/>
                  <a:gd name="T15" fmla="*/ 902 h 1602"/>
                  <a:gd name="T16" fmla="*/ 390 w 1766"/>
                  <a:gd name="T17" fmla="*/ 1096 h 1602"/>
                  <a:gd name="T18" fmla="*/ 153 w 1766"/>
                  <a:gd name="T19" fmla="*/ 719 h 1602"/>
                  <a:gd name="T20" fmla="*/ 60 w 1766"/>
                  <a:gd name="T21" fmla="*/ 615 h 1602"/>
                  <a:gd name="T22" fmla="*/ 644 w 1766"/>
                  <a:gd name="T23" fmla="*/ 272 h 1602"/>
                  <a:gd name="T24" fmla="*/ 695 w 1766"/>
                  <a:gd name="T25" fmla="*/ 114 h 1602"/>
                  <a:gd name="T26" fmla="*/ 644 w 1766"/>
                  <a:gd name="T27" fmla="*/ 272 h 1602"/>
                  <a:gd name="T28" fmla="*/ 407 w 1766"/>
                  <a:gd name="T29" fmla="*/ 1276 h 1602"/>
                  <a:gd name="T30" fmla="*/ 433 w 1766"/>
                  <a:gd name="T31" fmla="*/ 1208 h 1602"/>
                  <a:gd name="T32" fmla="*/ 402 w 1766"/>
                  <a:gd name="T33" fmla="*/ 1148 h 1602"/>
                  <a:gd name="T34" fmla="*/ 613 w 1766"/>
                  <a:gd name="T35" fmla="*/ 1265 h 1602"/>
                  <a:gd name="T36" fmla="*/ 1314 w 1766"/>
                  <a:gd name="T37" fmla="*/ 1268 h 1602"/>
                  <a:gd name="T38" fmla="*/ 1059 w 1766"/>
                  <a:gd name="T39" fmla="*/ 1135 h 1602"/>
                  <a:gd name="T40" fmla="*/ 1221 w 1766"/>
                  <a:gd name="T41" fmla="*/ 828 h 1602"/>
                  <a:gd name="T42" fmla="*/ 1270 w 1766"/>
                  <a:gd name="T43" fmla="*/ 400 h 1602"/>
                  <a:gd name="T44" fmla="*/ 913 w 1766"/>
                  <a:gd name="T45" fmla="*/ 812 h 1602"/>
                  <a:gd name="T46" fmla="*/ 862 w 1766"/>
                  <a:gd name="T47" fmla="*/ 468 h 1602"/>
                  <a:gd name="T48" fmla="*/ 495 w 1766"/>
                  <a:gd name="T49" fmla="*/ 385 h 1602"/>
                  <a:gd name="T50" fmla="*/ 834 w 1766"/>
                  <a:gd name="T51" fmla="*/ 1192 h 1602"/>
                  <a:gd name="T52" fmla="*/ 515 w 1766"/>
                  <a:gd name="T53" fmla="*/ 849 h 1602"/>
                  <a:gd name="T54" fmla="*/ 448 w 1766"/>
                  <a:gd name="T55" fmla="*/ 1260 h 1602"/>
                  <a:gd name="T56" fmla="*/ 829 w 1766"/>
                  <a:gd name="T57" fmla="*/ 1316 h 1602"/>
                  <a:gd name="T58" fmla="*/ 820 w 1766"/>
                  <a:gd name="T59" fmla="*/ 1538 h 1602"/>
                  <a:gd name="T60" fmla="*/ 942 w 1766"/>
                  <a:gd name="T61" fmla="*/ 1538 h 1602"/>
                  <a:gd name="T62" fmla="*/ 1032 w 1766"/>
                  <a:gd name="T63" fmla="*/ 1175 h 1602"/>
                  <a:gd name="T64" fmla="*/ 469 w 1766"/>
                  <a:gd name="T65" fmla="*/ 828 h 1602"/>
                  <a:gd name="T66" fmla="*/ 580 w 1766"/>
                  <a:gd name="T67" fmla="*/ 801 h 1602"/>
                  <a:gd name="T68" fmla="*/ 350 w 1766"/>
                  <a:gd name="T69" fmla="*/ 588 h 1602"/>
                  <a:gd name="T70" fmla="*/ 536 w 1766"/>
                  <a:gd name="T71" fmla="*/ 542 h 1602"/>
                  <a:gd name="T72" fmla="*/ 467 w 1766"/>
                  <a:gd name="T73" fmla="*/ 351 h 1602"/>
                  <a:gd name="T74" fmla="*/ 634 w 1766"/>
                  <a:gd name="T75" fmla="*/ 469 h 1602"/>
                  <a:gd name="T76" fmla="*/ 394 w 1766"/>
                  <a:gd name="T77" fmla="*/ 454 h 1602"/>
                  <a:gd name="T78" fmla="*/ 1261 w 1766"/>
                  <a:gd name="T79" fmla="*/ 338 h 1602"/>
                  <a:gd name="T80" fmla="*/ 1307 w 1766"/>
                  <a:gd name="T81" fmla="*/ 424 h 1602"/>
                  <a:gd name="T82" fmla="*/ 1401 w 1766"/>
                  <a:gd name="T83" fmla="*/ 206 h 1602"/>
                  <a:gd name="T84" fmla="*/ 1218 w 1766"/>
                  <a:gd name="T85" fmla="*/ 359 h 1602"/>
                  <a:gd name="T86" fmla="*/ 884 w 1766"/>
                  <a:gd name="T87" fmla="*/ 406 h 1602"/>
                  <a:gd name="T88" fmla="*/ 951 w 1766"/>
                  <a:gd name="T89" fmla="*/ 656 h 1602"/>
                  <a:gd name="T90" fmla="*/ 710 w 1766"/>
                  <a:gd name="T91" fmla="*/ 422 h 1602"/>
                  <a:gd name="T92" fmla="*/ 1419 w 1766"/>
                  <a:gd name="T93" fmla="*/ 588 h 1602"/>
                  <a:gd name="T94" fmla="*/ 1187 w 1766"/>
                  <a:gd name="T95" fmla="*/ 801 h 1602"/>
                  <a:gd name="T96" fmla="*/ 1297 w 1766"/>
                  <a:gd name="T97" fmla="*/ 828 h 1602"/>
                  <a:gd name="T98" fmla="*/ 1381 w 1766"/>
                  <a:gd name="T99" fmla="*/ 911 h 1602"/>
                  <a:gd name="T100" fmla="*/ 1211 w 1766"/>
                  <a:gd name="T101" fmla="*/ 1152 h 1602"/>
                  <a:gd name="T102" fmla="*/ 1371 w 1766"/>
                  <a:gd name="T103" fmla="*/ 1273 h 1602"/>
                  <a:gd name="T104" fmla="*/ 1300 w 1766"/>
                  <a:gd name="T105" fmla="*/ 1310 h 1602"/>
                  <a:gd name="T106" fmla="*/ 1539 w 1766"/>
                  <a:gd name="T107" fmla="*/ 134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66" h="1602">
                    <a:moveTo>
                      <a:pt x="1521" y="902"/>
                    </a:moveTo>
                    <a:cubicBezTo>
                      <a:pt x="1637" y="866"/>
                      <a:pt x="1766" y="956"/>
                      <a:pt x="1766" y="956"/>
                    </a:cubicBezTo>
                    <a:cubicBezTo>
                      <a:pt x="1766" y="956"/>
                      <a:pt x="1708" y="1104"/>
                      <a:pt x="1593" y="1139"/>
                    </a:cubicBezTo>
                    <a:cubicBezTo>
                      <a:pt x="1518" y="1162"/>
                      <a:pt x="1424" y="1120"/>
                      <a:pt x="1377" y="1096"/>
                    </a:cubicBezTo>
                    <a:cubicBezTo>
                      <a:pt x="1377" y="1096"/>
                      <a:pt x="1578" y="1032"/>
                      <a:pt x="1567" y="1005"/>
                    </a:cubicBezTo>
                    <a:cubicBezTo>
                      <a:pt x="1556" y="979"/>
                      <a:pt x="1358" y="1054"/>
                      <a:pt x="1358" y="1054"/>
                    </a:cubicBezTo>
                    <a:cubicBezTo>
                      <a:pt x="1383" y="1008"/>
                      <a:pt x="1445" y="924"/>
                      <a:pt x="1521" y="902"/>
                    </a:cubicBezTo>
                    <a:close/>
                    <a:moveTo>
                      <a:pt x="1601" y="719"/>
                    </a:moveTo>
                    <a:cubicBezTo>
                      <a:pt x="1618" y="730"/>
                      <a:pt x="1528" y="845"/>
                      <a:pt x="1528" y="845"/>
                    </a:cubicBezTo>
                    <a:cubicBezTo>
                      <a:pt x="1564" y="840"/>
                      <a:pt x="1634" y="828"/>
                      <a:pt x="1667" y="785"/>
                    </a:cubicBezTo>
                    <a:cubicBezTo>
                      <a:pt x="1721" y="721"/>
                      <a:pt x="1696" y="615"/>
                      <a:pt x="1696" y="615"/>
                    </a:cubicBezTo>
                    <a:cubicBezTo>
                      <a:pt x="1696" y="615"/>
                      <a:pt x="1587" y="614"/>
                      <a:pt x="1535" y="679"/>
                    </a:cubicBezTo>
                    <a:cubicBezTo>
                      <a:pt x="1500" y="721"/>
                      <a:pt x="1497" y="792"/>
                      <a:pt x="1500" y="829"/>
                    </a:cubicBezTo>
                    <a:cubicBezTo>
                      <a:pt x="1500" y="829"/>
                      <a:pt x="1584" y="708"/>
                      <a:pt x="1601" y="719"/>
                    </a:cubicBezTo>
                    <a:close/>
                    <a:moveTo>
                      <a:pt x="1148" y="129"/>
                    </a:moveTo>
                    <a:cubicBezTo>
                      <a:pt x="1168" y="134"/>
                      <a:pt x="1122" y="272"/>
                      <a:pt x="1122" y="272"/>
                    </a:cubicBezTo>
                    <a:cubicBezTo>
                      <a:pt x="1155" y="255"/>
                      <a:pt x="1215" y="220"/>
                      <a:pt x="1234" y="169"/>
                    </a:cubicBezTo>
                    <a:cubicBezTo>
                      <a:pt x="1260" y="90"/>
                      <a:pt x="1202" y="0"/>
                      <a:pt x="1202" y="0"/>
                    </a:cubicBezTo>
                    <a:cubicBezTo>
                      <a:pt x="1202" y="0"/>
                      <a:pt x="1099" y="36"/>
                      <a:pt x="1072" y="114"/>
                    </a:cubicBezTo>
                    <a:cubicBezTo>
                      <a:pt x="1054" y="165"/>
                      <a:pt x="1076" y="232"/>
                      <a:pt x="1091" y="266"/>
                    </a:cubicBezTo>
                    <a:cubicBezTo>
                      <a:pt x="1091" y="266"/>
                      <a:pt x="1129" y="125"/>
                      <a:pt x="1148" y="129"/>
                    </a:cubicBezTo>
                    <a:close/>
                    <a:moveTo>
                      <a:pt x="198" y="1005"/>
                    </a:moveTo>
                    <a:cubicBezTo>
                      <a:pt x="211" y="979"/>
                      <a:pt x="409" y="1054"/>
                      <a:pt x="409" y="1054"/>
                    </a:cubicBezTo>
                    <a:cubicBezTo>
                      <a:pt x="383" y="1008"/>
                      <a:pt x="320" y="924"/>
                      <a:pt x="245" y="902"/>
                    </a:cubicBezTo>
                    <a:cubicBezTo>
                      <a:pt x="130" y="866"/>
                      <a:pt x="0" y="956"/>
                      <a:pt x="0" y="956"/>
                    </a:cubicBezTo>
                    <a:cubicBezTo>
                      <a:pt x="0" y="956"/>
                      <a:pt x="58" y="1104"/>
                      <a:pt x="174" y="1139"/>
                    </a:cubicBezTo>
                    <a:cubicBezTo>
                      <a:pt x="249" y="1162"/>
                      <a:pt x="342" y="1120"/>
                      <a:pt x="390" y="1096"/>
                    </a:cubicBezTo>
                    <a:cubicBezTo>
                      <a:pt x="390" y="1096"/>
                      <a:pt x="187" y="1032"/>
                      <a:pt x="198" y="1005"/>
                    </a:cubicBezTo>
                    <a:close/>
                    <a:moveTo>
                      <a:pt x="225" y="845"/>
                    </a:moveTo>
                    <a:cubicBezTo>
                      <a:pt x="225" y="845"/>
                      <a:pt x="136" y="730"/>
                      <a:pt x="153" y="719"/>
                    </a:cubicBezTo>
                    <a:cubicBezTo>
                      <a:pt x="170" y="708"/>
                      <a:pt x="253" y="829"/>
                      <a:pt x="253" y="829"/>
                    </a:cubicBezTo>
                    <a:cubicBezTo>
                      <a:pt x="255" y="792"/>
                      <a:pt x="252" y="721"/>
                      <a:pt x="218" y="679"/>
                    </a:cubicBezTo>
                    <a:cubicBezTo>
                      <a:pt x="167" y="614"/>
                      <a:pt x="60" y="615"/>
                      <a:pt x="60" y="615"/>
                    </a:cubicBezTo>
                    <a:cubicBezTo>
                      <a:pt x="60" y="615"/>
                      <a:pt x="35" y="721"/>
                      <a:pt x="87" y="785"/>
                    </a:cubicBezTo>
                    <a:cubicBezTo>
                      <a:pt x="121" y="828"/>
                      <a:pt x="190" y="840"/>
                      <a:pt x="225" y="845"/>
                    </a:cubicBezTo>
                    <a:close/>
                    <a:moveTo>
                      <a:pt x="644" y="272"/>
                    </a:moveTo>
                    <a:cubicBezTo>
                      <a:pt x="644" y="272"/>
                      <a:pt x="598" y="134"/>
                      <a:pt x="618" y="129"/>
                    </a:cubicBezTo>
                    <a:cubicBezTo>
                      <a:pt x="637" y="125"/>
                      <a:pt x="676" y="266"/>
                      <a:pt x="676" y="266"/>
                    </a:cubicBezTo>
                    <a:cubicBezTo>
                      <a:pt x="691" y="232"/>
                      <a:pt x="712" y="165"/>
                      <a:pt x="695" y="114"/>
                    </a:cubicBezTo>
                    <a:cubicBezTo>
                      <a:pt x="668" y="36"/>
                      <a:pt x="566" y="0"/>
                      <a:pt x="566" y="0"/>
                    </a:cubicBezTo>
                    <a:cubicBezTo>
                      <a:pt x="566" y="0"/>
                      <a:pt x="506" y="90"/>
                      <a:pt x="533" y="169"/>
                    </a:cubicBezTo>
                    <a:cubicBezTo>
                      <a:pt x="550" y="220"/>
                      <a:pt x="612" y="255"/>
                      <a:pt x="644" y="272"/>
                    </a:cubicBezTo>
                    <a:close/>
                    <a:moveTo>
                      <a:pt x="477" y="1310"/>
                    </a:moveTo>
                    <a:cubicBezTo>
                      <a:pt x="471" y="1312"/>
                      <a:pt x="466" y="1312"/>
                      <a:pt x="460" y="1312"/>
                    </a:cubicBezTo>
                    <a:cubicBezTo>
                      <a:pt x="437" y="1312"/>
                      <a:pt x="416" y="1298"/>
                      <a:pt x="407" y="1276"/>
                    </a:cubicBezTo>
                    <a:cubicBezTo>
                      <a:pt x="406" y="1273"/>
                      <a:pt x="406" y="1273"/>
                      <a:pt x="406" y="1273"/>
                    </a:cubicBezTo>
                    <a:cubicBezTo>
                      <a:pt x="405" y="1269"/>
                      <a:pt x="405" y="1269"/>
                      <a:pt x="405" y="1269"/>
                    </a:cubicBezTo>
                    <a:cubicBezTo>
                      <a:pt x="400" y="1245"/>
                      <a:pt x="411" y="1220"/>
                      <a:pt x="433" y="1208"/>
                    </a:cubicBezTo>
                    <a:cubicBezTo>
                      <a:pt x="435" y="1206"/>
                      <a:pt x="435" y="1206"/>
                      <a:pt x="435" y="1206"/>
                    </a:cubicBezTo>
                    <a:cubicBezTo>
                      <a:pt x="567" y="1152"/>
                      <a:pt x="567" y="1152"/>
                      <a:pt x="567" y="1152"/>
                    </a:cubicBezTo>
                    <a:cubicBezTo>
                      <a:pt x="519" y="1137"/>
                      <a:pt x="458" y="1127"/>
                      <a:pt x="402" y="1148"/>
                    </a:cubicBezTo>
                    <a:cubicBezTo>
                      <a:pt x="290" y="1190"/>
                      <a:pt x="241" y="1340"/>
                      <a:pt x="241" y="1340"/>
                    </a:cubicBezTo>
                    <a:cubicBezTo>
                      <a:pt x="241" y="1340"/>
                      <a:pt x="376" y="1421"/>
                      <a:pt x="489" y="1378"/>
                    </a:cubicBezTo>
                    <a:cubicBezTo>
                      <a:pt x="546" y="1357"/>
                      <a:pt x="587" y="1308"/>
                      <a:pt x="613" y="1265"/>
                    </a:cubicBezTo>
                    <a:lnTo>
                      <a:pt x="477" y="1310"/>
                    </a:lnTo>
                    <a:close/>
                    <a:moveTo>
                      <a:pt x="1032" y="1175"/>
                    </a:moveTo>
                    <a:cubicBezTo>
                      <a:pt x="1314" y="1268"/>
                      <a:pt x="1314" y="1268"/>
                      <a:pt x="1314" y="1268"/>
                    </a:cubicBezTo>
                    <a:cubicBezTo>
                      <a:pt x="1319" y="1270"/>
                      <a:pt x="1326" y="1266"/>
                      <a:pt x="1329" y="1260"/>
                    </a:cubicBezTo>
                    <a:cubicBezTo>
                      <a:pt x="1330" y="1254"/>
                      <a:pt x="1327" y="1249"/>
                      <a:pt x="1322" y="1246"/>
                    </a:cubicBezTo>
                    <a:cubicBezTo>
                      <a:pt x="1059" y="1135"/>
                      <a:pt x="1059" y="1135"/>
                      <a:pt x="1059" y="1135"/>
                    </a:cubicBezTo>
                    <a:cubicBezTo>
                      <a:pt x="1251" y="849"/>
                      <a:pt x="1251" y="849"/>
                      <a:pt x="1251" y="849"/>
                    </a:cubicBezTo>
                    <a:cubicBezTo>
                      <a:pt x="1257" y="842"/>
                      <a:pt x="1255" y="830"/>
                      <a:pt x="1245" y="825"/>
                    </a:cubicBezTo>
                    <a:cubicBezTo>
                      <a:pt x="1238" y="819"/>
                      <a:pt x="1227" y="820"/>
                      <a:pt x="1221" y="828"/>
                    </a:cubicBezTo>
                    <a:cubicBezTo>
                      <a:pt x="928" y="1198"/>
                      <a:pt x="928" y="1198"/>
                      <a:pt x="928" y="1198"/>
                    </a:cubicBezTo>
                    <a:cubicBezTo>
                      <a:pt x="917" y="922"/>
                      <a:pt x="917" y="922"/>
                      <a:pt x="917" y="922"/>
                    </a:cubicBezTo>
                    <a:cubicBezTo>
                      <a:pt x="1270" y="400"/>
                      <a:pt x="1270" y="400"/>
                      <a:pt x="1270" y="400"/>
                    </a:cubicBezTo>
                    <a:cubicBezTo>
                      <a:pt x="1273" y="395"/>
                      <a:pt x="1273" y="388"/>
                      <a:pt x="1268" y="385"/>
                    </a:cubicBezTo>
                    <a:cubicBezTo>
                      <a:pt x="1263" y="380"/>
                      <a:pt x="1256" y="381"/>
                      <a:pt x="1252" y="386"/>
                    </a:cubicBezTo>
                    <a:cubicBezTo>
                      <a:pt x="913" y="812"/>
                      <a:pt x="913" y="812"/>
                      <a:pt x="913" y="812"/>
                    </a:cubicBezTo>
                    <a:cubicBezTo>
                      <a:pt x="899" y="468"/>
                      <a:pt x="899" y="468"/>
                      <a:pt x="899" y="468"/>
                    </a:cubicBezTo>
                    <a:cubicBezTo>
                      <a:pt x="898" y="458"/>
                      <a:pt x="891" y="450"/>
                      <a:pt x="881" y="450"/>
                    </a:cubicBezTo>
                    <a:cubicBezTo>
                      <a:pt x="871" y="449"/>
                      <a:pt x="863" y="457"/>
                      <a:pt x="862" y="468"/>
                    </a:cubicBezTo>
                    <a:cubicBezTo>
                      <a:pt x="849" y="810"/>
                      <a:pt x="849" y="810"/>
                      <a:pt x="849" y="810"/>
                    </a:cubicBezTo>
                    <a:cubicBezTo>
                      <a:pt x="511" y="386"/>
                      <a:pt x="511" y="386"/>
                      <a:pt x="511" y="386"/>
                    </a:cubicBezTo>
                    <a:cubicBezTo>
                      <a:pt x="507" y="381"/>
                      <a:pt x="500" y="380"/>
                      <a:pt x="495" y="385"/>
                    </a:cubicBezTo>
                    <a:cubicBezTo>
                      <a:pt x="490" y="388"/>
                      <a:pt x="490" y="395"/>
                      <a:pt x="493" y="400"/>
                    </a:cubicBezTo>
                    <a:cubicBezTo>
                      <a:pt x="844" y="920"/>
                      <a:pt x="844" y="920"/>
                      <a:pt x="844" y="920"/>
                    </a:cubicBezTo>
                    <a:cubicBezTo>
                      <a:pt x="834" y="1192"/>
                      <a:pt x="834" y="1192"/>
                      <a:pt x="834" y="1192"/>
                    </a:cubicBezTo>
                    <a:cubicBezTo>
                      <a:pt x="545" y="828"/>
                      <a:pt x="545" y="828"/>
                      <a:pt x="545" y="828"/>
                    </a:cubicBezTo>
                    <a:cubicBezTo>
                      <a:pt x="539" y="820"/>
                      <a:pt x="529" y="819"/>
                      <a:pt x="521" y="825"/>
                    </a:cubicBezTo>
                    <a:cubicBezTo>
                      <a:pt x="512" y="830"/>
                      <a:pt x="510" y="842"/>
                      <a:pt x="515" y="849"/>
                    </a:cubicBezTo>
                    <a:cubicBezTo>
                      <a:pt x="710" y="1140"/>
                      <a:pt x="710" y="1140"/>
                      <a:pt x="710" y="1140"/>
                    </a:cubicBezTo>
                    <a:cubicBezTo>
                      <a:pt x="455" y="1246"/>
                      <a:pt x="455" y="1246"/>
                      <a:pt x="455" y="1246"/>
                    </a:cubicBezTo>
                    <a:cubicBezTo>
                      <a:pt x="450" y="1249"/>
                      <a:pt x="447" y="1254"/>
                      <a:pt x="448" y="1260"/>
                    </a:cubicBezTo>
                    <a:cubicBezTo>
                      <a:pt x="451" y="1266"/>
                      <a:pt x="457" y="1270"/>
                      <a:pt x="463" y="1268"/>
                    </a:cubicBezTo>
                    <a:cubicBezTo>
                      <a:pt x="736" y="1178"/>
                      <a:pt x="736" y="1178"/>
                      <a:pt x="736" y="1178"/>
                    </a:cubicBezTo>
                    <a:cubicBezTo>
                      <a:pt x="829" y="1316"/>
                      <a:pt x="829" y="1316"/>
                      <a:pt x="829" y="1316"/>
                    </a:cubicBezTo>
                    <a:cubicBezTo>
                      <a:pt x="823" y="1486"/>
                      <a:pt x="823" y="1486"/>
                      <a:pt x="823" y="1486"/>
                    </a:cubicBezTo>
                    <a:cubicBezTo>
                      <a:pt x="820" y="1538"/>
                      <a:pt x="820" y="1538"/>
                      <a:pt x="820" y="1538"/>
                    </a:cubicBezTo>
                    <a:cubicBezTo>
                      <a:pt x="820" y="1538"/>
                      <a:pt x="820" y="1538"/>
                      <a:pt x="820" y="1538"/>
                    </a:cubicBezTo>
                    <a:cubicBezTo>
                      <a:pt x="820" y="1540"/>
                      <a:pt x="820" y="1542"/>
                      <a:pt x="820" y="1543"/>
                    </a:cubicBezTo>
                    <a:cubicBezTo>
                      <a:pt x="822" y="1577"/>
                      <a:pt x="850" y="1602"/>
                      <a:pt x="883" y="1602"/>
                    </a:cubicBezTo>
                    <a:cubicBezTo>
                      <a:pt x="917" y="1600"/>
                      <a:pt x="943" y="1572"/>
                      <a:pt x="942" y="1538"/>
                    </a:cubicBezTo>
                    <a:cubicBezTo>
                      <a:pt x="933" y="1322"/>
                      <a:pt x="933" y="1322"/>
                      <a:pt x="933" y="1322"/>
                    </a:cubicBezTo>
                    <a:cubicBezTo>
                      <a:pt x="1032" y="1175"/>
                      <a:pt x="1032" y="1175"/>
                      <a:pt x="1032" y="1175"/>
                    </a:cubicBezTo>
                    <a:cubicBezTo>
                      <a:pt x="1032" y="1175"/>
                      <a:pt x="1032" y="1175"/>
                      <a:pt x="1032" y="1175"/>
                    </a:cubicBezTo>
                    <a:close/>
                    <a:moveTo>
                      <a:pt x="583" y="1029"/>
                    </a:moveTo>
                    <a:cubicBezTo>
                      <a:pt x="479" y="874"/>
                      <a:pt x="479" y="874"/>
                      <a:pt x="479" y="874"/>
                    </a:cubicBezTo>
                    <a:cubicBezTo>
                      <a:pt x="470" y="861"/>
                      <a:pt x="466" y="844"/>
                      <a:pt x="469" y="828"/>
                    </a:cubicBezTo>
                    <a:cubicBezTo>
                      <a:pt x="473" y="812"/>
                      <a:pt x="482" y="797"/>
                      <a:pt x="497" y="788"/>
                    </a:cubicBezTo>
                    <a:cubicBezTo>
                      <a:pt x="507" y="781"/>
                      <a:pt x="519" y="777"/>
                      <a:pt x="531" y="777"/>
                    </a:cubicBezTo>
                    <a:cubicBezTo>
                      <a:pt x="550" y="777"/>
                      <a:pt x="568" y="786"/>
                      <a:pt x="580" y="801"/>
                    </a:cubicBezTo>
                    <a:cubicBezTo>
                      <a:pt x="700" y="952"/>
                      <a:pt x="700" y="952"/>
                      <a:pt x="700" y="952"/>
                    </a:cubicBezTo>
                    <a:cubicBezTo>
                      <a:pt x="704" y="884"/>
                      <a:pt x="698" y="792"/>
                      <a:pt x="647" y="722"/>
                    </a:cubicBezTo>
                    <a:cubicBezTo>
                      <a:pt x="554" y="596"/>
                      <a:pt x="350" y="588"/>
                      <a:pt x="350" y="588"/>
                    </a:cubicBezTo>
                    <a:cubicBezTo>
                      <a:pt x="350" y="588"/>
                      <a:pt x="295" y="785"/>
                      <a:pt x="388" y="911"/>
                    </a:cubicBezTo>
                    <a:cubicBezTo>
                      <a:pt x="437" y="978"/>
                      <a:pt x="518" y="1012"/>
                      <a:pt x="583" y="1029"/>
                    </a:cubicBezTo>
                    <a:close/>
                    <a:moveTo>
                      <a:pt x="536" y="542"/>
                    </a:moveTo>
                    <a:cubicBezTo>
                      <a:pt x="456" y="424"/>
                      <a:pt x="456" y="424"/>
                      <a:pt x="456" y="424"/>
                    </a:cubicBezTo>
                    <a:cubicBezTo>
                      <a:pt x="456" y="423"/>
                      <a:pt x="456" y="423"/>
                      <a:pt x="456" y="423"/>
                    </a:cubicBezTo>
                    <a:cubicBezTo>
                      <a:pt x="441" y="399"/>
                      <a:pt x="445" y="369"/>
                      <a:pt x="467" y="351"/>
                    </a:cubicBezTo>
                    <a:cubicBezTo>
                      <a:pt x="476" y="342"/>
                      <a:pt x="489" y="338"/>
                      <a:pt x="503" y="338"/>
                    </a:cubicBezTo>
                    <a:cubicBezTo>
                      <a:pt x="519" y="338"/>
                      <a:pt x="535" y="345"/>
                      <a:pt x="546" y="359"/>
                    </a:cubicBezTo>
                    <a:cubicBezTo>
                      <a:pt x="634" y="469"/>
                      <a:pt x="634" y="469"/>
                      <a:pt x="634" y="469"/>
                    </a:cubicBezTo>
                    <a:cubicBezTo>
                      <a:pt x="635" y="419"/>
                      <a:pt x="628" y="357"/>
                      <a:pt x="592" y="308"/>
                    </a:cubicBezTo>
                    <a:cubicBezTo>
                      <a:pt x="520" y="211"/>
                      <a:pt x="363" y="206"/>
                      <a:pt x="363" y="206"/>
                    </a:cubicBezTo>
                    <a:cubicBezTo>
                      <a:pt x="363" y="206"/>
                      <a:pt x="321" y="357"/>
                      <a:pt x="394" y="454"/>
                    </a:cubicBezTo>
                    <a:cubicBezTo>
                      <a:pt x="429" y="504"/>
                      <a:pt x="488" y="529"/>
                      <a:pt x="536" y="542"/>
                    </a:cubicBezTo>
                    <a:close/>
                    <a:moveTo>
                      <a:pt x="1218" y="359"/>
                    </a:moveTo>
                    <a:cubicBezTo>
                      <a:pt x="1228" y="345"/>
                      <a:pt x="1244" y="338"/>
                      <a:pt x="1261" y="338"/>
                    </a:cubicBezTo>
                    <a:cubicBezTo>
                      <a:pt x="1274" y="338"/>
                      <a:pt x="1287" y="342"/>
                      <a:pt x="1297" y="351"/>
                    </a:cubicBezTo>
                    <a:cubicBezTo>
                      <a:pt x="1318" y="369"/>
                      <a:pt x="1323" y="399"/>
                      <a:pt x="1308" y="423"/>
                    </a:cubicBezTo>
                    <a:cubicBezTo>
                      <a:pt x="1307" y="424"/>
                      <a:pt x="1307" y="424"/>
                      <a:pt x="1307" y="424"/>
                    </a:cubicBezTo>
                    <a:cubicBezTo>
                      <a:pt x="1227" y="542"/>
                      <a:pt x="1227" y="542"/>
                      <a:pt x="1227" y="542"/>
                    </a:cubicBezTo>
                    <a:cubicBezTo>
                      <a:pt x="1276" y="529"/>
                      <a:pt x="1334" y="504"/>
                      <a:pt x="1370" y="454"/>
                    </a:cubicBezTo>
                    <a:cubicBezTo>
                      <a:pt x="1442" y="357"/>
                      <a:pt x="1401" y="206"/>
                      <a:pt x="1401" y="206"/>
                    </a:cubicBezTo>
                    <a:cubicBezTo>
                      <a:pt x="1401" y="206"/>
                      <a:pt x="1243" y="211"/>
                      <a:pt x="1171" y="308"/>
                    </a:cubicBezTo>
                    <a:cubicBezTo>
                      <a:pt x="1135" y="357"/>
                      <a:pt x="1128" y="419"/>
                      <a:pt x="1129" y="470"/>
                    </a:cubicBezTo>
                    <a:lnTo>
                      <a:pt x="1218" y="359"/>
                    </a:lnTo>
                    <a:close/>
                    <a:moveTo>
                      <a:pt x="819" y="465"/>
                    </a:moveTo>
                    <a:cubicBezTo>
                      <a:pt x="820" y="432"/>
                      <a:pt x="847" y="406"/>
                      <a:pt x="879" y="406"/>
                    </a:cubicBezTo>
                    <a:cubicBezTo>
                      <a:pt x="881" y="406"/>
                      <a:pt x="882" y="406"/>
                      <a:pt x="884" y="406"/>
                    </a:cubicBezTo>
                    <a:cubicBezTo>
                      <a:pt x="914" y="408"/>
                      <a:pt x="939" y="431"/>
                      <a:pt x="943" y="462"/>
                    </a:cubicBezTo>
                    <a:cubicBezTo>
                      <a:pt x="943" y="464"/>
                      <a:pt x="943" y="464"/>
                      <a:pt x="943" y="464"/>
                    </a:cubicBezTo>
                    <a:cubicBezTo>
                      <a:pt x="951" y="656"/>
                      <a:pt x="951" y="656"/>
                      <a:pt x="951" y="656"/>
                    </a:cubicBezTo>
                    <a:cubicBezTo>
                      <a:pt x="998" y="600"/>
                      <a:pt x="1053" y="516"/>
                      <a:pt x="1053" y="422"/>
                    </a:cubicBezTo>
                    <a:cubicBezTo>
                      <a:pt x="1053" y="255"/>
                      <a:pt x="881" y="119"/>
                      <a:pt x="881" y="119"/>
                    </a:cubicBezTo>
                    <a:cubicBezTo>
                      <a:pt x="881" y="119"/>
                      <a:pt x="710" y="255"/>
                      <a:pt x="710" y="422"/>
                    </a:cubicBezTo>
                    <a:cubicBezTo>
                      <a:pt x="710" y="516"/>
                      <a:pt x="764" y="599"/>
                      <a:pt x="811" y="655"/>
                    </a:cubicBezTo>
                    <a:lnTo>
                      <a:pt x="819" y="465"/>
                    </a:lnTo>
                    <a:close/>
                    <a:moveTo>
                      <a:pt x="1419" y="588"/>
                    </a:moveTo>
                    <a:cubicBezTo>
                      <a:pt x="1419" y="588"/>
                      <a:pt x="1214" y="596"/>
                      <a:pt x="1121" y="722"/>
                    </a:cubicBezTo>
                    <a:cubicBezTo>
                      <a:pt x="1071" y="792"/>
                      <a:pt x="1064" y="882"/>
                      <a:pt x="1068" y="950"/>
                    </a:cubicBezTo>
                    <a:cubicBezTo>
                      <a:pt x="1187" y="801"/>
                      <a:pt x="1187" y="801"/>
                      <a:pt x="1187" y="801"/>
                    </a:cubicBezTo>
                    <a:cubicBezTo>
                      <a:pt x="1198" y="786"/>
                      <a:pt x="1216" y="777"/>
                      <a:pt x="1235" y="777"/>
                    </a:cubicBezTo>
                    <a:cubicBezTo>
                      <a:pt x="1247" y="777"/>
                      <a:pt x="1260" y="781"/>
                      <a:pt x="1270" y="788"/>
                    </a:cubicBezTo>
                    <a:cubicBezTo>
                      <a:pt x="1284" y="797"/>
                      <a:pt x="1294" y="812"/>
                      <a:pt x="1297" y="828"/>
                    </a:cubicBezTo>
                    <a:cubicBezTo>
                      <a:pt x="1300" y="844"/>
                      <a:pt x="1296" y="861"/>
                      <a:pt x="1287" y="874"/>
                    </a:cubicBezTo>
                    <a:cubicBezTo>
                      <a:pt x="1182" y="1030"/>
                      <a:pt x="1182" y="1030"/>
                      <a:pt x="1182" y="1030"/>
                    </a:cubicBezTo>
                    <a:cubicBezTo>
                      <a:pt x="1248" y="1013"/>
                      <a:pt x="1331" y="979"/>
                      <a:pt x="1381" y="911"/>
                    </a:cubicBezTo>
                    <a:cubicBezTo>
                      <a:pt x="1474" y="785"/>
                      <a:pt x="1419" y="588"/>
                      <a:pt x="1419" y="588"/>
                    </a:cubicBezTo>
                    <a:close/>
                    <a:moveTo>
                      <a:pt x="1376" y="1148"/>
                    </a:moveTo>
                    <a:cubicBezTo>
                      <a:pt x="1320" y="1127"/>
                      <a:pt x="1259" y="1137"/>
                      <a:pt x="1211" y="1152"/>
                    </a:cubicBezTo>
                    <a:cubicBezTo>
                      <a:pt x="1340" y="1206"/>
                      <a:pt x="1340" y="1206"/>
                      <a:pt x="1340" y="1206"/>
                    </a:cubicBezTo>
                    <a:cubicBezTo>
                      <a:pt x="1364" y="1217"/>
                      <a:pt x="1377" y="1243"/>
                      <a:pt x="1372" y="1269"/>
                    </a:cubicBezTo>
                    <a:cubicBezTo>
                      <a:pt x="1371" y="1273"/>
                      <a:pt x="1371" y="1273"/>
                      <a:pt x="1371" y="1273"/>
                    </a:cubicBezTo>
                    <a:cubicBezTo>
                      <a:pt x="1369" y="1276"/>
                      <a:pt x="1369" y="1276"/>
                      <a:pt x="1369" y="1276"/>
                    </a:cubicBezTo>
                    <a:cubicBezTo>
                      <a:pt x="1361" y="1298"/>
                      <a:pt x="1340" y="1312"/>
                      <a:pt x="1317" y="1312"/>
                    </a:cubicBezTo>
                    <a:cubicBezTo>
                      <a:pt x="1311" y="1312"/>
                      <a:pt x="1305" y="1312"/>
                      <a:pt x="1300" y="1310"/>
                    </a:cubicBezTo>
                    <a:cubicBezTo>
                      <a:pt x="1164" y="1265"/>
                      <a:pt x="1164" y="1265"/>
                      <a:pt x="1164" y="1265"/>
                    </a:cubicBezTo>
                    <a:cubicBezTo>
                      <a:pt x="1191" y="1308"/>
                      <a:pt x="1232" y="1357"/>
                      <a:pt x="1290" y="1378"/>
                    </a:cubicBezTo>
                    <a:cubicBezTo>
                      <a:pt x="1404" y="1421"/>
                      <a:pt x="1539" y="1340"/>
                      <a:pt x="1539" y="1340"/>
                    </a:cubicBezTo>
                    <a:cubicBezTo>
                      <a:pt x="1539" y="1340"/>
                      <a:pt x="1491" y="1190"/>
                      <a:pt x="1376" y="1148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36">
                <a:extLst>
                  <a:ext uri="{FF2B5EF4-FFF2-40B4-BE49-F238E27FC236}">
                    <a16:creationId xmlns:a16="http://schemas.microsoft.com/office/drawing/2014/main" id="{C371C793-29B0-4141-8D69-4D6AE21281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71" y="448"/>
                <a:ext cx="3334" cy="3413"/>
              </a:xfrm>
              <a:custGeom>
                <a:avLst/>
                <a:gdLst>
                  <a:gd name="T0" fmla="*/ 0 w 1780"/>
                  <a:gd name="T1" fmla="*/ 1199 h 1820"/>
                  <a:gd name="T2" fmla="*/ 79 w 1780"/>
                  <a:gd name="T3" fmla="*/ 888 h 1820"/>
                  <a:gd name="T4" fmla="*/ 42 w 1780"/>
                  <a:gd name="T5" fmla="*/ 924 h 1820"/>
                  <a:gd name="T6" fmla="*/ 128 w 1780"/>
                  <a:gd name="T7" fmla="*/ 452 h 1820"/>
                  <a:gd name="T8" fmla="*/ 164 w 1780"/>
                  <a:gd name="T9" fmla="*/ 488 h 1820"/>
                  <a:gd name="T10" fmla="*/ 223 w 1780"/>
                  <a:gd name="T11" fmla="*/ 452 h 1820"/>
                  <a:gd name="T12" fmla="*/ 407 w 1780"/>
                  <a:gd name="T13" fmla="*/ 165 h 1820"/>
                  <a:gd name="T14" fmla="*/ 370 w 1780"/>
                  <a:gd name="T15" fmla="*/ 201 h 1820"/>
                  <a:gd name="T16" fmla="*/ 208 w 1780"/>
                  <a:gd name="T17" fmla="*/ 531 h 1820"/>
                  <a:gd name="T18" fmla="*/ 244 w 1780"/>
                  <a:gd name="T19" fmla="*/ 567 h 1820"/>
                  <a:gd name="T20" fmla="*/ 10 w 1780"/>
                  <a:gd name="T21" fmla="*/ 1335 h 1820"/>
                  <a:gd name="T22" fmla="*/ 190 w 1780"/>
                  <a:gd name="T23" fmla="*/ 1274 h 1820"/>
                  <a:gd name="T24" fmla="*/ 154 w 1780"/>
                  <a:gd name="T25" fmla="*/ 1310 h 1820"/>
                  <a:gd name="T26" fmla="*/ 189 w 1780"/>
                  <a:gd name="T27" fmla="*/ 337 h 1820"/>
                  <a:gd name="T28" fmla="*/ 225 w 1780"/>
                  <a:gd name="T29" fmla="*/ 373 h 1820"/>
                  <a:gd name="T30" fmla="*/ 436 w 1780"/>
                  <a:gd name="T31" fmla="*/ 189 h 1820"/>
                  <a:gd name="T32" fmla="*/ 748 w 1780"/>
                  <a:gd name="T33" fmla="*/ 36 h 1820"/>
                  <a:gd name="T34" fmla="*/ 711 w 1780"/>
                  <a:gd name="T35" fmla="*/ 72 h 1820"/>
                  <a:gd name="T36" fmla="*/ 773 w 1780"/>
                  <a:gd name="T37" fmla="*/ 108 h 1820"/>
                  <a:gd name="T38" fmla="*/ 810 w 1780"/>
                  <a:gd name="T39" fmla="*/ 144 h 1820"/>
                  <a:gd name="T40" fmla="*/ 783 w 1780"/>
                  <a:gd name="T41" fmla="*/ 53 h 1820"/>
                  <a:gd name="T42" fmla="*/ 1708 w 1780"/>
                  <a:gd name="T43" fmla="*/ 1199 h 1820"/>
                  <a:gd name="T44" fmla="*/ 1745 w 1780"/>
                  <a:gd name="T45" fmla="*/ 1163 h 1820"/>
                  <a:gd name="T46" fmla="*/ 1738 w 1780"/>
                  <a:gd name="T47" fmla="*/ 924 h 1820"/>
                  <a:gd name="T48" fmla="*/ 1701 w 1780"/>
                  <a:gd name="T49" fmla="*/ 888 h 1820"/>
                  <a:gd name="T50" fmla="*/ 1688 w 1780"/>
                  <a:gd name="T51" fmla="*/ 488 h 1820"/>
                  <a:gd name="T52" fmla="*/ 1485 w 1780"/>
                  <a:gd name="T53" fmla="*/ 452 h 1820"/>
                  <a:gd name="T54" fmla="*/ 1521 w 1780"/>
                  <a:gd name="T55" fmla="*/ 416 h 1820"/>
                  <a:gd name="T56" fmla="*/ 1410 w 1780"/>
                  <a:gd name="T57" fmla="*/ 201 h 1820"/>
                  <a:gd name="T58" fmla="*/ 1373 w 1780"/>
                  <a:gd name="T59" fmla="*/ 165 h 1820"/>
                  <a:gd name="T60" fmla="*/ 1608 w 1780"/>
                  <a:gd name="T61" fmla="*/ 567 h 1820"/>
                  <a:gd name="T62" fmla="*/ 1698 w 1780"/>
                  <a:gd name="T63" fmla="*/ 1335 h 1820"/>
                  <a:gd name="T64" fmla="*/ 1734 w 1780"/>
                  <a:gd name="T65" fmla="*/ 1299 h 1820"/>
                  <a:gd name="T66" fmla="*/ 1626 w 1780"/>
                  <a:gd name="T67" fmla="*/ 1310 h 1820"/>
                  <a:gd name="T68" fmla="*/ 1590 w 1780"/>
                  <a:gd name="T69" fmla="*/ 1274 h 1820"/>
                  <a:gd name="T70" fmla="*/ 1627 w 1780"/>
                  <a:gd name="T71" fmla="*/ 373 h 1820"/>
                  <a:gd name="T72" fmla="*/ 1272 w 1780"/>
                  <a:gd name="T73" fmla="*/ 189 h 1820"/>
                  <a:gd name="T74" fmla="*/ 1309 w 1780"/>
                  <a:gd name="T75" fmla="*/ 153 h 1820"/>
                  <a:gd name="T76" fmla="*/ 1069 w 1780"/>
                  <a:gd name="T77" fmla="*/ 72 h 1820"/>
                  <a:gd name="T78" fmla="*/ 1032 w 1780"/>
                  <a:gd name="T79" fmla="*/ 36 h 1820"/>
                  <a:gd name="T80" fmla="*/ 1042 w 1780"/>
                  <a:gd name="T81" fmla="*/ 144 h 1820"/>
                  <a:gd name="T82" fmla="*/ 925 w 1780"/>
                  <a:gd name="T83" fmla="*/ 53 h 1820"/>
                  <a:gd name="T84" fmla="*/ 961 w 1780"/>
                  <a:gd name="T85" fmla="*/ 17 h 1820"/>
                  <a:gd name="T86" fmla="*/ 405 w 1780"/>
                  <a:gd name="T87" fmla="*/ 1656 h 1820"/>
                  <a:gd name="T88" fmla="*/ 158 w 1780"/>
                  <a:gd name="T89" fmla="*/ 1820 h 1820"/>
                  <a:gd name="T90" fmla="*/ 789 w 1780"/>
                  <a:gd name="T91" fmla="*/ 1469 h 1820"/>
                  <a:gd name="T92" fmla="*/ 989 w 1780"/>
                  <a:gd name="T93" fmla="*/ 1469 h 1820"/>
                  <a:gd name="T94" fmla="*/ 1622 w 1780"/>
                  <a:gd name="T95" fmla="*/ 1820 h 18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80" h="1820">
                    <a:moveTo>
                      <a:pt x="72" y="1199"/>
                    </a:moveTo>
                    <a:cubicBezTo>
                      <a:pt x="72" y="1218"/>
                      <a:pt x="56" y="1235"/>
                      <a:pt x="35" y="1235"/>
                    </a:cubicBezTo>
                    <a:cubicBezTo>
                      <a:pt x="16" y="1235"/>
                      <a:pt x="0" y="1218"/>
                      <a:pt x="0" y="1199"/>
                    </a:cubicBezTo>
                    <a:cubicBezTo>
                      <a:pt x="0" y="1179"/>
                      <a:pt x="16" y="1163"/>
                      <a:pt x="35" y="1163"/>
                    </a:cubicBezTo>
                    <a:cubicBezTo>
                      <a:pt x="56" y="1163"/>
                      <a:pt x="72" y="1179"/>
                      <a:pt x="72" y="1199"/>
                    </a:cubicBezTo>
                    <a:close/>
                    <a:moveTo>
                      <a:pt x="79" y="888"/>
                    </a:moveTo>
                    <a:cubicBezTo>
                      <a:pt x="79" y="868"/>
                      <a:pt x="63" y="852"/>
                      <a:pt x="42" y="852"/>
                    </a:cubicBezTo>
                    <a:cubicBezTo>
                      <a:pt x="23" y="852"/>
                      <a:pt x="7" y="868"/>
                      <a:pt x="7" y="888"/>
                    </a:cubicBezTo>
                    <a:cubicBezTo>
                      <a:pt x="7" y="907"/>
                      <a:pt x="23" y="924"/>
                      <a:pt x="42" y="924"/>
                    </a:cubicBezTo>
                    <a:cubicBezTo>
                      <a:pt x="63" y="924"/>
                      <a:pt x="79" y="907"/>
                      <a:pt x="79" y="888"/>
                    </a:cubicBezTo>
                    <a:close/>
                    <a:moveTo>
                      <a:pt x="164" y="488"/>
                    </a:moveTo>
                    <a:cubicBezTo>
                      <a:pt x="164" y="468"/>
                      <a:pt x="148" y="452"/>
                      <a:pt x="128" y="452"/>
                    </a:cubicBezTo>
                    <a:cubicBezTo>
                      <a:pt x="109" y="452"/>
                      <a:pt x="92" y="468"/>
                      <a:pt x="92" y="488"/>
                    </a:cubicBezTo>
                    <a:cubicBezTo>
                      <a:pt x="92" y="507"/>
                      <a:pt x="109" y="524"/>
                      <a:pt x="128" y="524"/>
                    </a:cubicBezTo>
                    <a:cubicBezTo>
                      <a:pt x="148" y="524"/>
                      <a:pt x="164" y="507"/>
                      <a:pt x="164" y="488"/>
                    </a:cubicBezTo>
                    <a:close/>
                    <a:moveTo>
                      <a:pt x="295" y="452"/>
                    </a:moveTo>
                    <a:cubicBezTo>
                      <a:pt x="295" y="432"/>
                      <a:pt x="279" y="416"/>
                      <a:pt x="259" y="416"/>
                    </a:cubicBezTo>
                    <a:cubicBezTo>
                      <a:pt x="239" y="416"/>
                      <a:pt x="223" y="432"/>
                      <a:pt x="223" y="452"/>
                    </a:cubicBezTo>
                    <a:cubicBezTo>
                      <a:pt x="223" y="471"/>
                      <a:pt x="239" y="488"/>
                      <a:pt x="259" y="488"/>
                    </a:cubicBezTo>
                    <a:cubicBezTo>
                      <a:pt x="279" y="488"/>
                      <a:pt x="295" y="471"/>
                      <a:pt x="295" y="452"/>
                    </a:cubicBezTo>
                    <a:close/>
                    <a:moveTo>
                      <a:pt x="407" y="165"/>
                    </a:moveTo>
                    <a:cubicBezTo>
                      <a:pt x="407" y="145"/>
                      <a:pt x="391" y="129"/>
                      <a:pt x="370" y="129"/>
                    </a:cubicBezTo>
                    <a:cubicBezTo>
                      <a:pt x="351" y="129"/>
                      <a:pt x="335" y="145"/>
                      <a:pt x="335" y="165"/>
                    </a:cubicBezTo>
                    <a:cubicBezTo>
                      <a:pt x="335" y="184"/>
                      <a:pt x="351" y="201"/>
                      <a:pt x="370" y="201"/>
                    </a:cubicBezTo>
                    <a:cubicBezTo>
                      <a:pt x="391" y="201"/>
                      <a:pt x="407" y="184"/>
                      <a:pt x="407" y="165"/>
                    </a:cubicBezTo>
                    <a:close/>
                    <a:moveTo>
                      <a:pt x="244" y="567"/>
                    </a:moveTo>
                    <a:cubicBezTo>
                      <a:pt x="244" y="547"/>
                      <a:pt x="228" y="531"/>
                      <a:pt x="208" y="531"/>
                    </a:cubicBezTo>
                    <a:cubicBezTo>
                      <a:pt x="189" y="531"/>
                      <a:pt x="172" y="547"/>
                      <a:pt x="172" y="567"/>
                    </a:cubicBezTo>
                    <a:cubicBezTo>
                      <a:pt x="172" y="586"/>
                      <a:pt x="189" y="603"/>
                      <a:pt x="208" y="603"/>
                    </a:cubicBezTo>
                    <a:cubicBezTo>
                      <a:pt x="228" y="603"/>
                      <a:pt x="244" y="586"/>
                      <a:pt x="244" y="567"/>
                    </a:cubicBezTo>
                    <a:close/>
                    <a:moveTo>
                      <a:pt x="82" y="1335"/>
                    </a:moveTo>
                    <a:cubicBezTo>
                      <a:pt x="82" y="1314"/>
                      <a:pt x="66" y="1299"/>
                      <a:pt x="46" y="1299"/>
                    </a:cubicBezTo>
                    <a:cubicBezTo>
                      <a:pt x="27" y="1299"/>
                      <a:pt x="10" y="1314"/>
                      <a:pt x="10" y="1335"/>
                    </a:cubicBezTo>
                    <a:cubicBezTo>
                      <a:pt x="10" y="1354"/>
                      <a:pt x="27" y="1371"/>
                      <a:pt x="46" y="1371"/>
                    </a:cubicBezTo>
                    <a:cubicBezTo>
                      <a:pt x="66" y="1371"/>
                      <a:pt x="82" y="1354"/>
                      <a:pt x="82" y="1335"/>
                    </a:cubicBezTo>
                    <a:close/>
                    <a:moveTo>
                      <a:pt x="190" y="1274"/>
                    </a:moveTo>
                    <a:cubicBezTo>
                      <a:pt x="190" y="1253"/>
                      <a:pt x="174" y="1238"/>
                      <a:pt x="154" y="1238"/>
                    </a:cubicBezTo>
                    <a:cubicBezTo>
                      <a:pt x="135" y="1238"/>
                      <a:pt x="118" y="1253"/>
                      <a:pt x="118" y="1274"/>
                    </a:cubicBezTo>
                    <a:cubicBezTo>
                      <a:pt x="118" y="1293"/>
                      <a:pt x="135" y="1310"/>
                      <a:pt x="154" y="1310"/>
                    </a:cubicBezTo>
                    <a:cubicBezTo>
                      <a:pt x="174" y="1310"/>
                      <a:pt x="190" y="1293"/>
                      <a:pt x="190" y="1274"/>
                    </a:cubicBezTo>
                    <a:close/>
                    <a:moveTo>
                      <a:pt x="225" y="373"/>
                    </a:moveTo>
                    <a:cubicBezTo>
                      <a:pt x="225" y="353"/>
                      <a:pt x="209" y="337"/>
                      <a:pt x="189" y="337"/>
                    </a:cubicBezTo>
                    <a:cubicBezTo>
                      <a:pt x="170" y="337"/>
                      <a:pt x="153" y="353"/>
                      <a:pt x="153" y="373"/>
                    </a:cubicBezTo>
                    <a:cubicBezTo>
                      <a:pt x="153" y="392"/>
                      <a:pt x="170" y="409"/>
                      <a:pt x="189" y="409"/>
                    </a:cubicBezTo>
                    <a:cubicBezTo>
                      <a:pt x="209" y="409"/>
                      <a:pt x="225" y="392"/>
                      <a:pt x="225" y="373"/>
                    </a:cubicBezTo>
                    <a:close/>
                    <a:moveTo>
                      <a:pt x="508" y="189"/>
                    </a:moveTo>
                    <a:cubicBezTo>
                      <a:pt x="508" y="169"/>
                      <a:pt x="492" y="153"/>
                      <a:pt x="471" y="153"/>
                    </a:cubicBezTo>
                    <a:cubicBezTo>
                      <a:pt x="452" y="153"/>
                      <a:pt x="436" y="169"/>
                      <a:pt x="436" y="189"/>
                    </a:cubicBezTo>
                    <a:cubicBezTo>
                      <a:pt x="436" y="209"/>
                      <a:pt x="452" y="225"/>
                      <a:pt x="471" y="225"/>
                    </a:cubicBezTo>
                    <a:cubicBezTo>
                      <a:pt x="492" y="225"/>
                      <a:pt x="508" y="209"/>
                      <a:pt x="508" y="189"/>
                    </a:cubicBezTo>
                    <a:close/>
                    <a:moveTo>
                      <a:pt x="748" y="36"/>
                    </a:moveTo>
                    <a:cubicBezTo>
                      <a:pt x="748" y="16"/>
                      <a:pt x="732" y="0"/>
                      <a:pt x="711" y="0"/>
                    </a:cubicBezTo>
                    <a:cubicBezTo>
                      <a:pt x="692" y="0"/>
                      <a:pt x="676" y="16"/>
                      <a:pt x="676" y="36"/>
                    </a:cubicBezTo>
                    <a:cubicBezTo>
                      <a:pt x="676" y="55"/>
                      <a:pt x="692" y="72"/>
                      <a:pt x="711" y="72"/>
                    </a:cubicBezTo>
                    <a:cubicBezTo>
                      <a:pt x="732" y="72"/>
                      <a:pt x="748" y="55"/>
                      <a:pt x="748" y="36"/>
                    </a:cubicBezTo>
                    <a:close/>
                    <a:moveTo>
                      <a:pt x="810" y="144"/>
                    </a:moveTo>
                    <a:cubicBezTo>
                      <a:pt x="810" y="124"/>
                      <a:pt x="794" y="108"/>
                      <a:pt x="773" y="108"/>
                    </a:cubicBezTo>
                    <a:cubicBezTo>
                      <a:pt x="754" y="108"/>
                      <a:pt x="738" y="124"/>
                      <a:pt x="738" y="144"/>
                    </a:cubicBezTo>
                    <a:cubicBezTo>
                      <a:pt x="738" y="163"/>
                      <a:pt x="754" y="180"/>
                      <a:pt x="773" y="180"/>
                    </a:cubicBezTo>
                    <a:cubicBezTo>
                      <a:pt x="794" y="180"/>
                      <a:pt x="810" y="163"/>
                      <a:pt x="810" y="144"/>
                    </a:cubicBezTo>
                    <a:close/>
                    <a:moveTo>
                      <a:pt x="855" y="53"/>
                    </a:moveTo>
                    <a:cubicBezTo>
                      <a:pt x="855" y="33"/>
                      <a:pt x="839" y="17"/>
                      <a:pt x="819" y="17"/>
                    </a:cubicBezTo>
                    <a:cubicBezTo>
                      <a:pt x="799" y="17"/>
                      <a:pt x="783" y="33"/>
                      <a:pt x="783" y="53"/>
                    </a:cubicBezTo>
                    <a:cubicBezTo>
                      <a:pt x="783" y="73"/>
                      <a:pt x="799" y="89"/>
                      <a:pt x="819" y="89"/>
                    </a:cubicBezTo>
                    <a:cubicBezTo>
                      <a:pt x="839" y="89"/>
                      <a:pt x="855" y="73"/>
                      <a:pt x="855" y="53"/>
                    </a:cubicBezTo>
                    <a:close/>
                    <a:moveTo>
                      <a:pt x="1708" y="1199"/>
                    </a:moveTo>
                    <a:cubicBezTo>
                      <a:pt x="1708" y="1218"/>
                      <a:pt x="1724" y="1235"/>
                      <a:pt x="1745" y="1235"/>
                    </a:cubicBezTo>
                    <a:cubicBezTo>
                      <a:pt x="1764" y="1235"/>
                      <a:pt x="1780" y="1218"/>
                      <a:pt x="1780" y="1199"/>
                    </a:cubicBezTo>
                    <a:cubicBezTo>
                      <a:pt x="1780" y="1179"/>
                      <a:pt x="1764" y="1163"/>
                      <a:pt x="1745" y="1163"/>
                    </a:cubicBezTo>
                    <a:cubicBezTo>
                      <a:pt x="1724" y="1163"/>
                      <a:pt x="1708" y="1179"/>
                      <a:pt x="1708" y="1199"/>
                    </a:cubicBezTo>
                    <a:close/>
                    <a:moveTo>
                      <a:pt x="1701" y="888"/>
                    </a:moveTo>
                    <a:cubicBezTo>
                      <a:pt x="1701" y="907"/>
                      <a:pt x="1717" y="924"/>
                      <a:pt x="1738" y="924"/>
                    </a:cubicBezTo>
                    <a:cubicBezTo>
                      <a:pt x="1757" y="924"/>
                      <a:pt x="1773" y="907"/>
                      <a:pt x="1773" y="888"/>
                    </a:cubicBezTo>
                    <a:cubicBezTo>
                      <a:pt x="1773" y="868"/>
                      <a:pt x="1757" y="852"/>
                      <a:pt x="1738" y="852"/>
                    </a:cubicBezTo>
                    <a:cubicBezTo>
                      <a:pt x="1717" y="852"/>
                      <a:pt x="1701" y="868"/>
                      <a:pt x="1701" y="888"/>
                    </a:cubicBezTo>
                    <a:close/>
                    <a:moveTo>
                      <a:pt x="1616" y="488"/>
                    </a:moveTo>
                    <a:cubicBezTo>
                      <a:pt x="1616" y="507"/>
                      <a:pt x="1632" y="524"/>
                      <a:pt x="1652" y="524"/>
                    </a:cubicBezTo>
                    <a:cubicBezTo>
                      <a:pt x="1671" y="524"/>
                      <a:pt x="1688" y="507"/>
                      <a:pt x="1688" y="488"/>
                    </a:cubicBezTo>
                    <a:cubicBezTo>
                      <a:pt x="1688" y="468"/>
                      <a:pt x="1671" y="452"/>
                      <a:pt x="1652" y="452"/>
                    </a:cubicBezTo>
                    <a:cubicBezTo>
                      <a:pt x="1632" y="452"/>
                      <a:pt x="1616" y="468"/>
                      <a:pt x="1616" y="488"/>
                    </a:cubicBezTo>
                    <a:close/>
                    <a:moveTo>
                      <a:pt x="1485" y="452"/>
                    </a:moveTo>
                    <a:cubicBezTo>
                      <a:pt x="1485" y="471"/>
                      <a:pt x="1501" y="488"/>
                      <a:pt x="1521" y="488"/>
                    </a:cubicBezTo>
                    <a:cubicBezTo>
                      <a:pt x="1541" y="488"/>
                      <a:pt x="1557" y="471"/>
                      <a:pt x="1557" y="452"/>
                    </a:cubicBezTo>
                    <a:cubicBezTo>
                      <a:pt x="1557" y="432"/>
                      <a:pt x="1541" y="416"/>
                      <a:pt x="1521" y="416"/>
                    </a:cubicBezTo>
                    <a:cubicBezTo>
                      <a:pt x="1501" y="416"/>
                      <a:pt x="1485" y="432"/>
                      <a:pt x="1485" y="452"/>
                    </a:cubicBezTo>
                    <a:close/>
                    <a:moveTo>
                      <a:pt x="1373" y="165"/>
                    </a:moveTo>
                    <a:cubicBezTo>
                      <a:pt x="1373" y="184"/>
                      <a:pt x="1389" y="201"/>
                      <a:pt x="1410" y="201"/>
                    </a:cubicBezTo>
                    <a:cubicBezTo>
                      <a:pt x="1429" y="201"/>
                      <a:pt x="1445" y="184"/>
                      <a:pt x="1445" y="165"/>
                    </a:cubicBezTo>
                    <a:cubicBezTo>
                      <a:pt x="1445" y="145"/>
                      <a:pt x="1429" y="129"/>
                      <a:pt x="1410" y="129"/>
                    </a:cubicBezTo>
                    <a:cubicBezTo>
                      <a:pt x="1389" y="129"/>
                      <a:pt x="1373" y="145"/>
                      <a:pt x="1373" y="165"/>
                    </a:cubicBezTo>
                    <a:close/>
                    <a:moveTo>
                      <a:pt x="1536" y="567"/>
                    </a:moveTo>
                    <a:cubicBezTo>
                      <a:pt x="1536" y="586"/>
                      <a:pt x="1552" y="603"/>
                      <a:pt x="1572" y="603"/>
                    </a:cubicBezTo>
                    <a:cubicBezTo>
                      <a:pt x="1591" y="603"/>
                      <a:pt x="1608" y="586"/>
                      <a:pt x="1608" y="567"/>
                    </a:cubicBezTo>
                    <a:cubicBezTo>
                      <a:pt x="1608" y="547"/>
                      <a:pt x="1591" y="531"/>
                      <a:pt x="1572" y="531"/>
                    </a:cubicBezTo>
                    <a:cubicBezTo>
                      <a:pt x="1552" y="531"/>
                      <a:pt x="1536" y="547"/>
                      <a:pt x="1536" y="567"/>
                    </a:cubicBezTo>
                    <a:close/>
                    <a:moveTo>
                      <a:pt x="1698" y="1335"/>
                    </a:moveTo>
                    <a:cubicBezTo>
                      <a:pt x="1698" y="1354"/>
                      <a:pt x="1714" y="1371"/>
                      <a:pt x="1734" y="1371"/>
                    </a:cubicBezTo>
                    <a:cubicBezTo>
                      <a:pt x="1753" y="1371"/>
                      <a:pt x="1770" y="1354"/>
                      <a:pt x="1770" y="1335"/>
                    </a:cubicBezTo>
                    <a:cubicBezTo>
                      <a:pt x="1770" y="1314"/>
                      <a:pt x="1753" y="1299"/>
                      <a:pt x="1734" y="1299"/>
                    </a:cubicBezTo>
                    <a:cubicBezTo>
                      <a:pt x="1714" y="1299"/>
                      <a:pt x="1698" y="1314"/>
                      <a:pt x="1698" y="1335"/>
                    </a:cubicBezTo>
                    <a:close/>
                    <a:moveTo>
                      <a:pt x="1590" y="1274"/>
                    </a:moveTo>
                    <a:cubicBezTo>
                      <a:pt x="1590" y="1293"/>
                      <a:pt x="1606" y="1310"/>
                      <a:pt x="1626" y="1310"/>
                    </a:cubicBezTo>
                    <a:cubicBezTo>
                      <a:pt x="1645" y="1310"/>
                      <a:pt x="1662" y="1293"/>
                      <a:pt x="1662" y="1274"/>
                    </a:cubicBezTo>
                    <a:cubicBezTo>
                      <a:pt x="1662" y="1253"/>
                      <a:pt x="1645" y="1238"/>
                      <a:pt x="1626" y="1238"/>
                    </a:cubicBezTo>
                    <a:cubicBezTo>
                      <a:pt x="1606" y="1238"/>
                      <a:pt x="1590" y="1253"/>
                      <a:pt x="1590" y="1274"/>
                    </a:cubicBezTo>
                    <a:close/>
                    <a:moveTo>
                      <a:pt x="1555" y="373"/>
                    </a:moveTo>
                    <a:cubicBezTo>
                      <a:pt x="1555" y="392"/>
                      <a:pt x="1571" y="409"/>
                      <a:pt x="1591" y="409"/>
                    </a:cubicBezTo>
                    <a:cubicBezTo>
                      <a:pt x="1610" y="409"/>
                      <a:pt x="1627" y="392"/>
                      <a:pt x="1627" y="373"/>
                    </a:cubicBezTo>
                    <a:cubicBezTo>
                      <a:pt x="1627" y="353"/>
                      <a:pt x="1610" y="337"/>
                      <a:pt x="1591" y="337"/>
                    </a:cubicBezTo>
                    <a:cubicBezTo>
                      <a:pt x="1571" y="337"/>
                      <a:pt x="1555" y="353"/>
                      <a:pt x="1555" y="373"/>
                    </a:cubicBezTo>
                    <a:close/>
                    <a:moveTo>
                      <a:pt x="1272" y="189"/>
                    </a:moveTo>
                    <a:cubicBezTo>
                      <a:pt x="1272" y="209"/>
                      <a:pt x="1288" y="225"/>
                      <a:pt x="1309" y="225"/>
                    </a:cubicBezTo>
                    <a:cubicBezTo>
                      <a:pt x="1328" y="225"/>
                      <a:pt x="1344" y="209"/>
                      <a:pt x="1344" y="189"/>
                    </a:cubicBezTo>
                    <a:cubicBezTo>
                      <a:pt x="1344" y="169"/>
                      <a:pt x="1328" y="153"/>
                      <a:pt x="1309" y="153"/>
                    </a:cubicBezTo>
                    <a:cubicBezTo>
                      <a:pt x="1288" y="153"/>
                      <a:pt x="1272" y="169"/>
                      <a:pt x="1272" y="189"/>
                    </a:cubicBezTo>
                    <a:close/>
                    <a:moveTo>
                      <a:pt x="1032" y="36"/>
                    </a:moveTo>
                    <a:cubicBezTo>
                      <a:pt x="1032" y="55"/>
                      <a:pt x="1048" y="72"/>
                      <a:pt x="1069" y="72"/>
                    </a:cubicBezTo>
                    <a:cubicBezTo>
                      <a:pt x="1088" y="72"/>
                      <a:pt x="1104" y="55"/>
                      <a:pt x="1104" y="36"/>
                    </a:cubicBezTo>
                    <a:cubicBezTo>
                      <a:pt x="1104" y="16"/>
                      <a:pt x="1088" y="0"/>
                      <a:pt x="1069" y="0"/>
                    </a:cubicBezTo>
                    <a:cubicBezTo>
                      <a:pt x="1048" y="0"/>
                      <a:pt x="1032" y="16"/>
                      <a:pt x="1032" y="36"/>
                    </a:cubicBezTo>
                    <a:close/>
                    <a:moveTo>
                      <a:pt x="970" y="144"/>
                    </a:moveTo>
                    <a:cubicBezTo>
                      <a:pt x="970" y="163"/>
                      <a:pt x="986" y="180"/>
                      <a:pt x="1007" y="180"/>
                    </a:cubicBezTo>
                    <a:cubicBezTo>
                      <a:pt x="1026" y="180"/>
                      <a:pt x="1042" y="163"/>
                      <a:pt x="1042" y="144"/>
                    </a:cubicBezTo>
                    <a:cubicBezTo>
                      <a:pt x="1042" y="124"/>
                      <a:pt x="1026" y="108"/>
                      <a:pt x="1007" y="108"/>
                    </a:cubicBezTo>
                    <a:cubicBezTo>
                      <a:pt x="986" y="108"/>
                      <a:pt x="970" y="124"/>
                      <a:pt x="970" y="144"/>
                    </a:cubicBezTo>
                    <a:close/>
                    <a:moveTo>
                      <a:pt x="925" y="53"/>
                    </a:moveTo>
                    <a:cubicBezTo>
                      <a:pt x="925" y="73"/>
                      <a:pt x="941" y="89"/>
                      <a:pt x="961" y="89"/>
                    </a:cubicBezTo>
                    <a:cubicBezTo>
                      <a:pt x="981" y="89"/>
                      <a:pt x="997" y="73"/>
                      <a:pt x="997" y="53"/>
                    </a:cubicBezTo>
                    <a:cubicBezTo>
                      <a:pt x="997" y="33"/>
                      <a:pt x="981" y="17"/>
                      <a:pt x="961" y="17"/>
                    </a:cubicBezTo>
                    <a:cubicBezTo>
                      <a:pt x="941" y="17"/>
                      <a:pt x="925" y="33"/>
                      <a:pt x="925" y="53"/>
                    </a:cubicBezTo>
                    <a:close/>
                    <a:moveTo>
                      <a:pt x="789" y="1469"/>
                    </a:moveTo>
                    <a:cubicBezTo>
                      <a:pt x="632" y="1496"/>
                      <a:pt x="508" y="1583"/>
                      <a:pt x="405" y="1656"/>
                    </a:cubicBezTo>
                    <a:cubicBezTo>
                      <a:pt x="314" y="1720"/>
                      <a:pt x="235" y="1776"/>
                      <a:pt x="158" y="1776"/>
                    </a:cubicBezTo>
                    <a:cubicBezTo>
                      <a:pt x="145" y="1776"/>
                      <a:pt x="136" y="1786"/>
                      <a:pt x="136" y="1798"/>
                    </a:cubicBezTo>
                    <a:cubicBezTo>
                      <a:pt x="136" y="1810"/>
                      <a:pt x="145" y="1820"/>
                      <a:pt x="158" y="1820"/>
                    </a:cubicBezTo>
                    <a:cubicBezTo>
                      <a:pt x="249" y="1820"/>
                      <a:pt x="333" y="1761"/>
                      <a:pt x="431" y="1692"/>
                    </a:cubicBezTo>
                    <a:cubicBezTo>
                      <a:pt x="532" y="1620"/>
                      <a:pt x="645" y="1541"/>
                      <a:pt x="788" y="1514"/>
                    </a:cubicBezTo>
                    <a:lnTo>
                      <a:pt x="789" y="1469"/>
                    </a:lnTo>
                    <a:close/>
                    <a:moveTo>
                      <a:pt x="1622" y="1776"/>
                    </a:moveTo>
                    <a:cubicBezTo>
                      <a:pt x="1545" y="1776"/>
                      <a:pt x="1466" y="1720"/>
                      <a:pt x="1375" y="1656"/>
                    </a:cubicBezTo>
                    <a:cubicBezTo>
                      <a:pt x="1272" y="1583"/>
                      <a:pt x="1148" y="1496"/>
                      <a:pt x="989" y="1469"/>
                    </a:cubicBezTo>
                    <a:cubicBezTo>
                      <a:pt x="991" y="1513"/>
                      <a:pt x="991" y="1513"/>
                      <a:pt x="991" y="1513"/>
                    </a:cubicBezTo>
                    <a:cubicBezTo>
                      <a:pt x="1134" y="1540"/>
                      <a:pt x="1247" y="1620"/>
                      <a:pt x="1349" y="1692"/>
                    </a:cubicBezTo>
                    <a:cubicBezTo>
                      <a:pt x="1447" y="1761"/>
                      <a:pt x="1531" y="1820"/>
                      <a:pt x="1622" y="1820"/>
                    </a:cubicBezTo>
                    <a:cubicBezTo>
                      <a:pt x="1635" y="1820"/>
                      <a:pt x="1644" y="1810"/>
                      <a:pt x="1644" y="1798"/>
                    </a:cubicBezTo>
                    <a:cubicBezTo>
                      <a:pt x="1644" y="1786"/>
                      <a:pt x="1635" y="1776"/>
                      <a:pt x="1622" y="177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61C912A-54F3-43AE-8541-45F24B8BC26E}"/>
              </a:ext>
            </a:extLst>
          </p:cNvPr>
          <p:cNvGrpSpPr/>
          <p:nvPr/>
        </p:nvGrpSpPr>
        <p:grpSpPr>
          <a:xfrm>
            <a:off x="654638" y="4329133"/>
            <a:ext cx="695799" cy="695799"/>
            <a:chOff x="3520368" y="3531668"/>
            <a:chExt cx="1018720" cy="101872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37351AC-56B8-416F-A01A-F68CAC6EE3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0368" y="3531668"/>
              <a:ext cx="1018720" cy="1018720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2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9D3C4A9-13B2-4E1B-BFC1-F5DBFE1E8DA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87590" y="3663085"/>
              <a:ext cx="768906" cy="768906"/>
              <a:chOff x="5273675" y="2606675"/>
              <a:chExt cx="1644650" cy="1644650"/>
            </a:xfrm>
          </p:grpSpPr>
          <p:sp>
            <p:nvSpPr>
              <p:cNvPr id="20" name="AutoShape 3">
                <a:extLst>
                  <a:ext uri="{FF2B5EF4-FFF2-40B4-BE49-F238E27FC236}">
                    <a16:creationId xmlns:a16="http://schemas.microsoft.com/office/drawing/2014/main" id="{5594EB14-096C-432F-96EA-02A8BE534EC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DFF8959-A2D4-4F3D-B53A-9CE371EFF486}"/>
                  </a:ext>
                </a:extLst>
              </p:cNvPr>
              <p:cNvGrpSpPr/>
              <p:nvPr/>
            </p:nvGrpSpPr>
            <p:grpSpPr>
              <a:xfrm>
                <a:off x="5511800" y="2859088"/>
                <a:ext cx="1111250" cy="1139825"/>
                <a:chOff x="5511800" y="2859088"/>
                <a:chExt cx="1111250" cy="1139825"/>
              </a:xfrm>
            </p:grpSpPr>
            <p:sp>
              <p:nvSpPr>
                <p:cNvPr id="22" name="Freeform 52">
                  <a:extLst>
                    <a:ext uri="{FF2B5EF4-FFF2-40B4-BE49-F238E27FC236}">
                      <a16:creationId xmlns:a16="http://schemas.microsoft.com/office/drawing/2014/main" id="{69E8BD23-AB18-4AA0-9EE2-0DD6EBC1F6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24575" y="2928938"/>
                  <a:ext cx="436563" cy="1000125"/>
                </a:xfrm>
                <a:custGeom>
                  <a:avLst/>
                  <a:gdLst>
                    <a:gd name="connsiteX0" fmla="*/ 436563 w 436563"/>
                    <a:gd name="connsiteY0" fmla="*/ 579437 h 1000125"/>
                    <a:gd name="connsiteX1" fmla="*/ 436563 w 436563"/>
                    <a:gd name="connsiteY1" fmla="*/ 862277 h 1000125"/>
                    <a:gd name="connsiteX2" fmla="*/ 436563 w 436563"/>
                    <a:gd name="connsiteY2" fmla="*/ 929415 h 1000125"/>
                    <a:gd name="connsiteX3" fmla="*/ 433715 w 436563"/>
                    <a:gd name="connsiteY3" fmla="*/ 930844 h 1000125"/>
                    <a:gd name="connsiteX4" fmla="*/ 418047 w 436563"/>
                    <a:gd name="connsiteY4" fmla="*/ 928701 h 1000125"/>
                    <a:gd name="connsiteX5" fmla="*/ 367482 w 436563"/>
                    <a:gd name="connsiteY5" fmla="*/ 980126 h 1000125"/>
                    <a:gd name="connsiteX6" fmla="*/ 370331 w 436563"/>
                    <a:gd name="connsiteY6" fmla="*/ 997268 h 1000125"/>
                    <a:gd name="connsiteX7" fmla="*/ 368194 w 436563"/>
                    <a:gd name="connsiteY7" fmla="*/ 1000125 h 1000125"/>
                    <a:gd name="connsiteX8" fmla="*/ 66945 w 436563"/>
                    <a:gd name="connsiteY8" fmla="*/ 1000125 h 1000125"/>
                    <a:gd name="connsiteX9" fmla="*/ 64808 w 436563"/>
                    <a:gd name="connsiteY9" fmla="*/ 997268 h 1000125"/>
                    <a:gd name="connsiteX10" fmla="*/ 68369 w 436563"/>
                    <a:gd name="connsiteY10" fmla="*/ 980126 h 1000125"/>
                    <a:gd name="connsiteX11" fmla="*/ 17092 w 436563"/>
                    <a:gd name="connsiteY11" fmla="*/ 928701 h 1000125"/>
                    <a:gd name="connsiteX12" fmla="*/ 2137 w 436563"/>
                    <a:gd name="connsiteY12" fmla="*/ 930844 h 1000125"/>
                    <a:gd name="connsiteX13" fmla="*/ 0 w 436563"/>
                    <a:gd name="connsiteY13" fmla="*/ 928701 h 1000125"/>
                    <a:gd name="connsiteX14" fmla="*/ 0 w 436563"/>
                    <a:gd name="connsiteY14" fmla="*/ 862277 h 1000125"/>
                    <a:gd name="connsiteX15" fmla="*/ 0 w 436563"/>
                    <a:gd name="connsiteY15" fmla="*/ 762283 h 1000125"/>
                    <a:gd name="connsiteX16" fmla="*/ 121070 w 436563"/>
                    <a:gd name="connsiteY16" fmla="*/ 827279 h 1000125"/>
                    <a:gd name="connsiteX17" fmla="*/ 194424 w 436563"/>
                    <a:gd name="connsiteY17" fmla="*/ 846563 h 1000125"/>
                    <a:gd name="connsiteX18" fmla="*/ 292704 w 436563"/>
                    <a:gd name="connsiteY18" fmla="*/ 802280 h 1000125"/>
                    <a:gd name="connsiteX19" fmla="*/ 324752 w 436563"/>
                    <a:gd name="connsiteY19" fmla="*/ 763711 h 1000125"/>
                    <a:gd name="connsiteX20" fmla="*/ 330449 w 436563"/>
                    <a:gd name="connsiteY20" fmla="*/ 752283 h 1000125"/>
                    <a:gd name="connsiteX21" fmla="*/ 319767 w 436563"/>
                    <a:gd name="connsiteY21" fmla="*/ 730142 h 1000125"/>
                    <a:gd name="connsiteX22" fmla="*/ 212228 w 436563"/>
                    <a:gd name="connsiteY22" fmla="*/ 666575 h 1000125"/>
                    <a:gd name="connsiteX23" fmla="*/ 217926 w 436563"/>
                    <a:gd name="connsiteY23" fmla="*/ 666575 h 1000125"/>
                    <a:gd name="connsiteX24" fmla="*/ 436563 w 436563"/>
                    <a:gd name="connsiteY24" fmla="*/ 579437 h 1000125"/>
                    <a:gd name="connsiteX25" fmla="*/ 67657 w 436563"/>
                    <a:gd name="connsiteY25" fmla="*/ 0 h 1000125"/>
                    <a:gd name="connsiteX26" fmla="*/ 367482 w 436563"/>
                    <a:gd name="connsiteY26" fmla="*/ 0 h 1000125"/>
                    <a:gd name="connsiteX27" fmla="*/ 369619 w 436563"/>
                    <a:gd name="connsiteY27" fmla="*/ 3571 h 1000125"/>
                    <a:gd name="connsiteX28" fmla="*/ 367482 w 436563"/>
                    <a:gd name="connsiteY28" fmla="*/ 19285 h 1000125"/>
                    <a:gd name="connsiteX29" fmla="*/ 418047 w 436563"/>
                    <a:gd name="connsiteY29" fmla="*/ 70710 h 1000125"/>
                    <a:gd name="connsiteX30" fmla="*/ 433715 w 436563"/>
                    <a:gd name="connsiteY30" fmla="*/ 68567 h 1000125"/>
                    <a:gd name="connsiteX31" fmla="*/ 435139 w 436563"/>
                    <a:gd name="connsiteY31" fmla="*/ 68567 h 1000125"/>
                    <a:gd name="connsiteX32" fmla="*/ 435851 w 436563"/>
                    <a:gd name="connsiteY32" fmla="*/ 68567 h 1000125"/>
                    <a:gd name="connsiteX33" fmla="*/ 436563 w 436563"/>
                    <a:gd name="connsiteY33" fmla="*/ 69282 h 1000125"/>
                    <a:gd name="connsiteX34" fmla="*/ 436563 w 436563"/>
                    <a:gd name="connsiteY34" fmla="*/ 69996 h 1000125"/>
                    <a:gd name="connsiteX35" fmla="*/ 436563 w 436563"/>
                    <a:gd name="connsiteY35" fmla="*/ 325694 h 1000125"/>
                    <a:gd name="connsiteX36" fmla="*/ 436563 w 436563"/>
                    <a:gd name="connsiteY36" fmla="*/ 420688 h 1000125"/>
                    <a:gd name="connsiteX37" fmla="*/ 229320 w 436563"/>
                    <a:gd name="connsiteY37" fmla="*/ 333551 h 1000125"/>
                    <a:gd name="connsiteX38" fmla="*/ 217926 w 436563"/>
                    <a:gd name="connsiteY38" fmla="*/ 333551 h 1000125"/>
                    <a:gd name="connsiteX39" fmla="*/ 96144 w 436563"/>
                    <a:gd name="connsiteY39" fmla="*/ 354978 h 1000125"/>
                    <a:gd name="connsiteX40" fmla="*/ 19229 w 436563"/>
                    <a:gd name="connsiteY40" fmla="*/ 399975 h 1000125"/>
                    <a:gd name="connsiteX41" fmla="*/ 0 w 436563"/>
                    <a:gd name="connsiteY41" fmla="*/ 420688 h 1000125"/>
                    <a:gd name="connsiteX42" fmla="*/ 0 w 436563"/>
                    <a:gd name="connsiteY42" fmla="*/ 411403 h 1000125"/>
                    <a:gd name="connsiteX43" fmla="*/ 0 w 436563"/>
                    <a:gd name="connsiteY43" fmla="*/ 393547 h 1000125"/>
                    <a:gd name="connsiteX44" fmla="*/ 0 w 436563"/>
                    <a:gd name="connsiteY44" fmla="*/ 374977 h 1000125"/>
                    <a:gd name="connsiteX45" fmla="*/ 0 w 436563"/>
                    <a:gd name="connsiteY45" fmla="*/ 339979 h 1000125"/>
                    <a:gd name="connsiteX46" fmla="*/ 0 w 436563"/>
                    <a:gd name="connsiteY46" fmla="*/ 325694 h 1000125"/>
                    <a:gd name="connsiteX47" fmla="*/ 0 w 436563"/>
                    <a:gd name="connsiteY47" fmla="*/ 322123 h 1000125"/>
                    <a:gd name="connsiteX48" fmla="*/ 0 w 436563"/>
                    <a:gd name="connsiteY48" fmla="*/ 304267 h 1000125"/>
                    <a:gd name="connsiteX49" fmla="*/ 0 w 436563"/>
                    <a:gd name="connsiteY49" fmla="*/ 249270 h 1000125"/>
                    <a:gd name="connsiteX50" fmla="*/ 0 w 436563"/>
                    <a:gd name="connsiteY50" fmla="*/ 70710 h 1000125"/>
                    <a:gd name="connsiteX51" fmla="*/ 2137 w 436563"/>
                    <a:gd name="connsiteY51" fmla="*/ 68567 h 1000125"/>
                    <a:gd name="connsiteX52" fmla="*/ 17092 w 436563"/>
                    <a:gd name="connsiteY52" fmla="*/ 70710 h 1000125"/>
                    <a:gd name="connsiteX53" fmla="*/ 68369 w 436563"/>
                    <a:gd name="connsiteY53" fmla="*/ 19285 h 1000125"/>
                    <a:gd name="connsiteX54" fmla="*/ 65520 w 436563"/>
                    <a:gd name="connsiteY54" fmla="*/ 3571 h 1000125"/>
                    <a:gd name="connsiteX55" fmla="*/ 67657 w 436563"/>
                    <a:gd name="connsiteY55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436563" h="1000125">
                      <a:moveTo>
                        <a:pt x="436563" y="579437"/>
                      </a:moveTo>
                      <a:cubicBezTo>
                        <a:pt x="436563" y="579437"/>
                        <a:pt x="436563" y="579437"/>
                        <a:pt x="436563" y="862277"/>
                      </a:cubicBezTo>
                      <a:cubicBezTo>
                        <a:pt x="436563" y="882990"/>
                        <a:pt x="436563" y="905131"/>
                        <a:pt x="436563" y="929415"/>
                      </a:cubicBezTo>
                      <a:cubicBezTo>
                        <a:pt x="436563" y="930844"/>
                        <a:pt x="435851" y="931558"/>
                        <a:pt x="433715" y="930844"/>
                      </a:cubicBezTo>
                      <a:cubicBezTo>
                        <a:pt x="428729" y="929415"/>
                        <a:pt x="423744" y="928701"/>
                        <a:pt x="418047" y="928701"/>
                      </a:cubicBezTo>
                      <a:cubicBezTo>
                        <a:pt x="389560" y="928701"/>
                        <a:pt x="367482" y="951557"/>
                        <a:pt x="367482" y="980126"/>
                      </a:cubicBezTo>
                      <a:cubicBezTo>
                        <a:pt x="367482" y="985840"/>
                        <a:pt x="368194" y="992268"/>
                        <a:pt x="370331" y="997268"/>
                      </a:cubicBezTo>
                      <a:cubicBezTo>
                        <a:pt x="371043" y="998697"/>
                        <a:pt x="369619" y="1000125"/>
                        <a:pt x="368194" y="1000125"/>
                      </a:cubicBezTo>
                      <a:cubicBezTo>
                        <a:pt x="368194" y="1000125"/>
                        <a:pt x="368194" y="1000125"/>
                        <a:pt x="66945" y="1000125"/>
                      </a:cubicBezTo>
                      <a:cubicBezTo>
                        <a:pt x="65520" y="1000125"/>
                        <a:pt x="64096" y="998697"/>
                        <a:pt x="64808" y="997268"/>
                      </a:cubicBezTo>
                      <a:cubicBezTo>
                        <a:pt x="66945" y="992268"/>
                        <a:pt x="68369" y="985840"/>
                        <a:pt x="68369" y="980126"/>
                      </a:cubicBezTo>
                      <a:cubicBezTo>
                        <a:pt x="68369" y="951557"/>
                        <a:pt x="45579" y="928701"/>
                        <a:pt x="17092" y="928701"/>
                      </a:cubicBezTo>
                      <a:cubicBezTo>
                        <a:pt x="12107" y="928701"/>
                        <a:pt x="7122" y="929415"/>
                        <a:pt x="2137" y="930844"/>
                      </a:cubicBezTo>
                      <a:cubicBezTo>
                        <a:pt x="1425" y="930844"/>
                        <a:pt x="0" y="930130"/>
                        <a:pt x="0" y="928701"/>
                      </a:cubicBezTo>
                      <a:cubicBezTo>
                        <a:pt x="0" y="928701"/>
                        <a:pt x="0" y="928701"/>
                        <a:pt x="0" y="862277"/>
                      </a:cubicBezTo>
                      <a:cubicBezTo>
                        <a:pt x="0" y="862277"/>
                        <a:pt x="0" y="862277"/>
                        <a:pt x="0" y="762283"/>
                      </a:cubicBezTo>
                      <a:cubicBezTo>
                        <a:pt x="58399" y="793709"/>
                        <a:pt x="105402" y="817994"/>
                        <a:pt x="121070" y="827279"/>
                      </a:cubicBezTo>
                      <a:cubicBezTo>
                        <a:pt x="145284" y="840135"/>
                        <a:pt x="169498" y="846563"/>
                        <a:pt x="194424" y="846563"/>
                      </a:cubicBezTo>
                      <a:cubicBezTo>
                        <a:pt x="239291" y="846563"/>
                        <a:pt x="274900" y="823708"/>
                        <a:pt x="292704" y="802280"/>
                      </a:cubicBezTo>
                      <a:cubicBezTo>
                        <a:pt x="292704" y="802280"/>
                        <a:pt x="292704" y="802280"/>
                        <a:pt x="324752" y="763711"/>
                      </a:cubicBezTo>
                      <a:cubicBezTo>
                        <a:pt x="327601" y="760854"/>
                        <a:pt x="329737" y="757283"/>
                        <a:pt x="330449" y="752283"/>
                      </a:cubicBezTo>
                      <a:cubicBezTo>
                        <a:pt x="331874" y="742998"/>
                        <a:pt x="327601" y="734427"/>
                        <a:pt x="319767" y="730142"/>
                      </a:cubicBezTo>
                      <a:cubicBezTo>
                        <a:pt x="319767" y="730142"/>
                        <a:pt x="319767" y="730142"/>
                        <a:pt x="212228" y="666575"/>
                      </a:cubicBezTo>
                      <a:cubicBezTo>
                        <a:pt x="214365" y="666575"/>
                        <a:pt x="215789" y="666575"/>
                        <a:pt x="217926" y="666575"/>
                      </a:cubicBezTo>
                      <a:cubicBezTo>
                        <a:pt x="312645" y="666575"/>
                        <a:pt x="394545" y="631577"/>
                        <a:pt x="436563" y="579437"/>
                      </a:cubicBezTo>
                      <a:close/>
                      <a:moveTo>
                        <a:pt x="67657" y="0"/>
                      </a:moveTo>
                      <a:cubicBezTo>
                        <a:pt x="67657" y="0"/>
                        <a:pt x="67657" y="0"/>
                        <a:pt x="367482" y="0"/>
                      </a:cubicBezTo>
                      <a:cubicBezTo>
                        <a:pt x="369619" y="0"/>
                        <a:pt x="370331" y="1429"/>
                        <a:pt x="369619" y="3571"/>
                      </a:cubicBezTo>
                      <a:cubicBezTo>
                        <a:pt x="368194" y="7857"/>
                        <a:pt x="367482" y="13571"/>
                        <a:pt x="367482" y="19285"/>
                      </a:cubicBezTo>
                      <a:cubicBezTo>
                        <a:pt x="367482" y="47854"/>
                        <a:pt x="389560" y="70710"/>
                        <a:pt x="418047" y="70710"/>
                      </a:cubicBezTo>
                      <a:cubicBezTo>
                        <a:pt x="423744" y="70710"/>
                        <a:pt x="428729" y="69996"/>
                        <a:pt x="433715" y="68567"/>
                      </a:cubicBezTo>
                      <a:cubicBezTo>
                        <a:pt x="434427" y="68567"/>
                        <a:pt x="434427" y="68567"/>
                        <a:pt x="435139" y="68567"/>
                      </a:cubicBezTo>
                      <a:cubicBezTo>
                        <a:pt x="435851" y="68567"/>
                        <a:pt x="435851" y="68567"/>
                        <a:pt x="435851" y="68567"/>
                      </a:cubicBezTo>
                      <a:cubicBezTo>
                        <a:pt x="435851" y="68567"/>
                        <a:pt x="436563" y="68567"/>
                        <a:pt x="436563" y="69282"/>
                      </a:cubicBezTo>
                      <a:cubicBezTo>
                        <a:pt x="436563" y="69996"/>
                        <a:pt x="436563" y="69996"/>
                        <a:pt x="436563" y="69996"/>
                      </a:cubicBezTo>
                      <a:cubicBezTo>
                        <a:pt x="436563" y="69996"/>
                        <a:pt x="436563" y="69996"/>
                        <a:pt x="436563" y="325694"/>
                      </a:cubicBezTo>
                      <a:cubicBezTo>
                        <a:pt x="436563" y="354264"/>
                        <a:pt x="436563" y="385690"/>
                        <a:pt x="436563" y="420688"/>
                      </a:cubicBezTo>
                      <a:cubicBezTo>
                        <a:pt x="395969" y="370691"/>
                        <a:pt x="319054" y="336408"/>
                        <a:pt x="229320" y="333551"/>
                      </a:cubicBezTo>
                      <a:cubicBezTo>
                        <a:pt x="225760" y="333551"/>
                        <a:pt x="222199" y="333551"/>
                        <a:pt x="217926" y="333551"/>
                      </a:cubicBezTo>
                      <a:cubicBezTo>
                        <a:pt x="173771" y="333551"/>
                        <a:pt x="132465" y="341407"/>
                        <a:pt x="96144" y="354978"/>
                      </a:cubicBezTo>
                      <a:cubicBezTo>
                        <a:pt x="66232" y="366406"/>
                        <a:pt x="39882" y="381405"/>
                        <a:pt x="19229" y="399975"/>
                      </a:cubicBezTo>
                      <a:cubicBezTo>
                        <a:pt x="12107" y="406403"/>
                        <a:pt x="5698" y="413546"/>
                        <a:pt x="0" y="420688"/>
                      </a:cubicBezTo>
                      <a:cubicBezTo>
                        <a:pt x="0" y="417831"/>
                        <a:pt x="0" y="414974"/>
                        <a:pt x="0" y="411403"/>
                      </a:cubicBezTo>
                      <a:cubicBezTo>
                        <a:pt x="0" y="406403"/>
                        <a:pt x="0" y="400689"/>
                        <a:pt x="0" y="393547"/>
                      </a:cubicBezTo>
                      <a:cubicBezTo>
                        <a:pt x="0" y="387833"/>
                        <a:pt x="0" y="382119"/>
                        <a:pt x="0" y="374977"/>
                      </a:cubicBezTo>
                      <a:cubicBezTo>
                        <a:pt x="0" y="364977"/>
                        <a:pt x="0" y="353549"/>
                        <a:pt x="0" y="339979"/>
                      </a:cubicBezTo>
                      <a:cubicBezTo>
                        <a:pt x="0" y="335693"/>
                        <a:pt x="0" y="330694"/>
                        <a:pt x="0" y="325694"/>
                      </a:cubicBezTo>
                      <a:cubicBezTo>
                        <a:pt x="0" y="324266"/>
                        <a:pt x="0" y="323551"/>
                        <a:pt x="0" y="322123"/>
                      </a:cubicBezTo>
                      <a:cubicBezTo>
                        <a:pt x="0" y="316409"/>
                        <a:pt x="0" y="310695"/>
                        <a:pt x="0" y="304267"/>
                      </a:cubicBezTo>
                      <a:cubicBezTo>
                        <a:pt x="0" y="287839"/>
                        <a:pt x="0" y="269983"/>
                        <a:pt x="0" y="249270"/>
                      </a:cubicBezTo>
                      <a:cubicBezTo>
                        <a:pt x="0" y="202130"/>
                        <a:pt x="0" y="143563"/>
                        <a:pt x="0" y="70710"/>
                      </a:cubicBezTo>
                      <a:cubicBezTo>
                        <a:pt x="0" y="69282"/>
                        <a:pt x="1425" y="68567"/>
                        <a:pt x="2137" y="68567"/>
                      </a:cubicBezTo>
                      <a:cubicBezTo>
                        <a:pt x="7122" y="69996"/>
                        <a:pt x="12107" y="70710"/>
                        <a:pt x="17092" y="70710"/>
                      </a:cubicBezTo>
                      <a:cubicBezTo>
                        <a:pt x="45579" y="70710"/>
                        <a:pt x="68369" y="47854"/>
                        <a:pt x="68369" y="19285"/>
                      </a:cubicBezTo>
                      <a:cubicBezTo>
                        <a:pt x="68369" y="13571"/>
                        <a:pt x="66945" y="7857"/>
                        <a:pt x="65520" y="3571"/>
                      </a:cubicBezTo>
                      <a:cubicBezTo>
                        <a:pt x="64808" y="1429"/>
                        <a:pt x="66232" y="0"/>
                        <a:pt x="67657" y="0"/>
                      </a:cubicBezTo>
                      <a:close/>
                    </a:path>
                  </a:pathLst>
                </a:custGeom>
                <a:solidFill>
                  <a:schemeClr val="tx2">
                    <a:lumMod val="10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" name="Freeform 53">
                  <a:extLst>
                    <a:ext uri="{FF2B5EF4-FFF2-40B4-BE49-F238E27FC236}">
                      <a16:creationId xmlns:a16="http://schemas.microsoft.com/office/drawing/2014/main" id="{4EE2D388-0A70-4C70-BEFF-FD410C0354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1800" y="2859088"/>
                  <a:ext cx="1111250" cy="1139825"/>
                </a:xfrm>
                <a:custGeom>
                  <a:avLst/>
                  <a:gdLst>
                    <a:gd name="connsiteX0" fmla="*/ 131325 w 1111250"/>
                    <a:gd name="connsiteY0" fmla="*/ 673100 h 1139825"/>
                    <a:gd name="connsiteX1" fmla="*/ 31750 w 1111250"/>
                    <a:gd name="connsiteY1" fmla="*/ 772319 h 1139825"/>
                    <a:gd name="connsiteX2" fmla="*/ 131325 w 1111250"/>
                    <a:gd name="connsiteY2" fmla="*/ 871538 h 1139825"/>
                    <a:gd name="connsiteX3" fmla="*/ 216675 w 1111250"/>
                    <a:gd name="connsiteY3" fmla="*/ 821572 h 1139825"/>
                    <a:gd name="connsiteX4" fmla="*/ 229477 w 1111250"/>
                    <a:gd name="connsiteY4" fmla="*/ 783026 h 1139825"/>
                    <a:gd name="connsiteX5" fmla="*/ 230188 w 1111250"/>
                    <a:gd name="connsiteY5" fmla="*/ 772319 h 1139825"/>
                    <a:gd name="connsiteX6" fmla="*/ 190358 w 1111250"/>
                    <a:gd name="connsiteY6" fmla="*/ 693087 h 1139825"/>
                    <a:gd name="connsiteX7" fmla="*/ 156930 w 1111250"/>
                    <a:gd name="connsiteY7" fmla="*/ 675955 h 1139825"/>
                    <a:gd name="connsiteX8" fmla="*/ 131325 w 1111250"/>
                    <a:gd name="connsiteY8" fmla="*/ 673100 h 1139825"/>
                    <a:gd name="connsiteX9" fmla="*/ 498232 w 1111250"/>
                    <a:gd name="connsiteY9" fmla="*/ 604837 h 1139825"/>
                    <a:gd name="connsiteX10" fmla="*/ 548910 w 1111250"/>
                    <a:gd name="connsiteY10" fmla="*/ 634832 h 1139825"/>
                    <a:gd name="connsiteX11" fmla="*/ 580316 w 1111250"/>
                    <a:gd name="connsiteY11" fmla="*/ 653400 h 1139825"/>
                    <a:gd name="connsiteX12" fmla="*/ 611723 w 1111250"/>
                    <a:gd name="connsiteY12" fmla="*/ 671254 h 1139825"/>
                    <a:gd name="connsiteX13" fmla="*/ 863687 w 1111250"/>
                    <a:gd name="connsiteY13" fmla="*/ 818371 h 1139825"/>
                    <a:gd name="connsiteX14" fmla="*/ 870824 w 1111250"/>
                    <a:gd name="connsiteY14" fmla="*/ 828369 h 1139825"/>
                    <a:gd name="connsiteX15" fmla="*/ 867256 w 1111250"/>
                    <a:gd name="connsiteY15" fmla="*/ 841224 h 1139825"/>
                    <a:gd name="connsiteX16" fmla="*/ 806584 w 1111250"/>
                    <a:gd name="connsiteY16" fmla="*/ 868362 h 1139825"/>
                    <a:gd name="connsiteX17" fmla="*/ 756620 w 1111250"/>
                    <a:gd name="connsiteY17" fmla="*/ 854079 h 1139825"/>
                    <a:gd name="connsiteX18" fmla="*/ 611723 w 1111250"/>
                    <a:gd name="connsiteY18" fmla="*/ 777664 h 1139825"/>
                    <a:gd name="connsiteX19" fmla="*/ 580316 w 1111250"/>
                    <a:gd name="connsiteY19" fmla="*/ 761238 h 1139825"/>
                    <a:gd name="connsiteX20" fmla="*/ 548910 w 1111250"/>
                    <a:gd name="connsiteY20" fmla="*/ 744812 h 1139825"/>
                    <a:gd name="connsiteX21" fmla="*/ 396875 w 1111250"/>
                    <a:gd name="connsiteY21" fmla="*/ 664827 h 1139825"/>
                    <a:gd name="connsiteX22" fmla="*/ 413292 w 1111250"/>
                    <a:gd name="connsiteY22" fmla="*/ 654828 h 1139825"/>
                    <a:gd name="connsiteX23" fmla="*/ 428995 w 1111250"/>
                    <a:gd name="connsiteY23" fmla="*/ 645544 h 1139825"/>
                    <a:gd name="connsiteX24" fmla="*/ 466826 w 1111250"/>
                    <a:gd name="connsiteY24" fmla="*/ 623405 h 1139825"/>
                    <a:gd name="connsiteX25" fmla="*/ 482529 w 1111250"/>
                    <a:gd name="connsiteY25" fmla="*/ 614121 h 1139825"/>
                    <a:gd name="connsiteX26" fmla="*/ 498232 w 1111250"/>
                    <a:gd name="connsiteY26" fmla="*/ 604837 h 1139825"/>
                    <a:gd name="connsiteX27" fmla="*/ 130969 w 1111250"/>
                    <a:gd name="connsiteY27" fmla="*/ 279400 h 1139825"/>
                    <a:gd name="connsiteX28" fmla="*/ 31750 w 1111250"/>
                    <a:gd name="connsiteY28" fmla="*/ 377905 h 1139825"/>
                    <a:gd name="connsiteX29" fmla="*/ 130969 w 1111250"/>
                    <a:gd name="connsiteY29" fmla="*/ 477838 h 1139825"/>
                    <a:gd name="connsiteX30" fmla="*/ 156666 w 1111250"/>
                    <a:gd name="connsiteY30" fmla="*/ 474269 h 1139825"/>
                    <a:gd name="connsiteX31" fmla="*/ 190215 w 1111250"/>
                    <a:gd name="connsiteY31" fmla="*/ 457852 h 1139825"/>
                    <a:gd name="connsiteX32" fmla="*/ 230188 w 1111250"/>
                    <a:gd name="connsiteY32" fmla="*/ 377905 h 1139825"/>
                    <a:gd name="connsiteX33" fmla="*/ 229474 w 1111250"/>
                    <a:gd name="connsiteY33" fmla="*/ 367912 h 1139825"/>
                    <a:gd name="connsiteX34" fmla="*/ 216626 w 1111250"/>
                    <a:gd name="connsiteY34" fmla="*/ 328653 h 1139825"/>
                    <a:gd name="connsiteX35" fmla="*/ 130969 w 1111250"/>
                    <a:gd name="connsiteY35" fmla="*/ 279400 h 1139825"/>
                    <a:gd name="connsiteX36" fmla="*/ 130765 w 1111250"/>
                    <a:gd name="connsiteY36" fmla="*/ 247650 h 1139825"/>
                    <a:gd name="connsiteX37" fmla="*/ 246523 w 1111250"/>
                    <a:gd name="connsiteY37" fmla="*/ 317602 h 1139825"/>
                    <a:gd name="connsiteX38" fmla="*/ 255098 w 1111250"/>
                    <a:gd name="connsiteY38" fmla="*/ 336874 h 1139825"/>
                    <a:gd name="connsiteX39" fmla="*/ 307975 w 1111250"/>
                    <a:gd name="connsiteY39" fmla="*/ 478205 h 1139825"/>
                    <a:gd name="connsiteX40" fmla="*/ 293684 w 1111250"/>
                    <a:gd name="connsiteY40" fmla="*/ 486056 h 1139825"/>
                    <a:gd name="connsiteX41" fmla="*/ 280107 w 1111250"/>
                    <a:gd name="connsiteY41" fmla="*/ 493194 h 1139825"/>
                    <a:gd name="connsiteX42" fmla="*/ 232947 w 1111250"/>
                    <a:gd name="connsiteY42" fmla="*/ 517463 h 1139825"/>
                    <a:gd name="connsiteX43" fmla="*/ 232232 w 1111250"/>
                    <a:gd name="connsiteY43" fmla="*/ 517463 h 1139825"/>
                    <a:gd name="connsiteX44" fmla="*/ 225801 w 1111250"/>
                    <a:gd name="connsiteY44" fmla="*/ 521032 h 1139825"/>
                    <a:gd name="connsiteX45" fmla="*/ 219370 w 1111250"/>
                    <a:gd name="connsiteY45" fmla="*/ 526029 h 1139825"/>
                    <a:gd name="connsiteX46" fmla="*/ 208652 w 1111250"/>
                    <a:gd name="connsiteY46" fmla="*/ 538163 h 1139825"/>
                    <a:gd name="connsiteX47" fmla="*/ 175067 w 1111250"/>
                    <a:gd name="connsiteY47" fmla="*/ 501046 h 1139825"/>
                    <a:gd name="connsiteX48" fmla="*/ 130765 w 1111250"/>
                    <a:gd name="connsiteY48" fmla="*/ 508184 h 1139825"/>
                    <a:gd name="connsiteX49" fmla="*/ 125763 w 1111250"/>
                    <a:gd name="connsiteY49" fmla="*/ 507470 h 1139825"/>
                    <a:gd name="connsiteX50" fmla="*/ 0 w 1111250"/>
                    <a:gd name="connsiteY50" fmla="*/ 377560 h 1139825"/>
                    <a:gd name="connsiteX51" fmla="*/ 130765 w 1111250"/>
                    <a:gd name="connsiteY51" fmla="*/ 247650 h 1139825"/>
                    <a:gd name="connsiteX52" fmla="*/ 564547 w 1111250"/>
                    <a:gd name="connsiteY52" fmla="*/ 0 h 1139825"/>
                    <a:gd name="connsiteX53" fmla="*/ 1095549 w 1111250"/>
                    <a:gd name="connsiteY53" fmla="*/ 0 h 1139825"/>
                    <a:gd name="connsiteX54" fmla="*/ 1111250 w 1111250"/>
                    <a:gd name="connsiteY54" fmla="*/ 15692 h 1139825"/>
                    <a:gd name="connsiteX55" fmla="*/ 1111250 w 1111250"/>
                    <a:gd name="connsiteY55" fmla="*/ 1124133 h 1139825"/>
                    <a:gd name="connsiteX56" fmla="*/ 1095549 w 1111250"/>
                    <a:gd name="connsiteY56" fmla="*/ 1139825 h 1139825"/>
                    <a:gd name="connsiteX57" fmla="*/ 564547 w 1111250"/>
                    <a:gd name="connsiteY57" fmla="*/ 1139825 h 1139825"/>
                    <a:gd name="connsiteX58" fmla="*/ 548845 w 1111250"/>
                    <a:gd name="connsiteY58" fmla="*/ 1124133 h 1139825"/>
                    <a:gd name="connsiteX59" fmla="*/ 548845 w 1111250"/>
                    <a:gd name="connsiteY59" fmla="*/ 798876 h 1139825"/>
                    <a:gd name="connsiteX60" fmla="*/ 580248 w 1111250"/>
                    <a:gd name="connsiteY60" fmla="*/ 815995 h 1139825"/>
                    <a:gd name="connsiteX61" fmla="*/ 580248 w 1111250"/>
                    <a:gd name="connsiteY61" fmla="*/ 1108441 h 1139825"/>
                    <a:gd name="connsiteX62" fmla="*/ 1079847 w 1111250"/>
                    <a:gd name="connsiteY62" fmla="*/ 1108441 h 1139825"/>
                    <a:gd name="connsiteX63" fmla="*/ 1079847 w 1111250"/>
                    <a:gd name="connsiteY63" fmla="*/ 538528 h 1139825"/>
                    <a:gd name="connsiteX64" fmla="*/ 1080561 w 1111250"/>
                    <a:gd name="connsiteY64" fmla="*/ 538528 h 1139825"/>
                    <a:gd name="connsiteX65" fmla="*/ 1080561 w 1111250"/>
                    <a:gd name="connsiteY65" fmla="*/ 507144 h 1139825"/>
                    <a:gd name="connsiteX66" fmla="*/ 1080561 w 1111250"/>
                    <a:gd name="connsiteY66" fmla="*/ 394445 h 1139825"/>
                    <a:gd name="connsiteX67" fmla="*/ 1080561 w 1111250"/>
                    <a:gd name="connsiteY67" fmla="*/ 139803 h 1139825"/>
                    <a:gd name="connsiteX68" fmla="*/ 1079847 w 1111250"/>
                    <a:gd name="connsiteY68" fmla="*/ 134810 h 1139825"/>
                    <a:gd name="connsiteX69" fmla="*/ 1079847 w 1111250"/>
                    <a:gd name="connsiteY69" fmla="*/ 31385 h 1139825"/>
                    <a:gd name="connsiteX70" fmla="*/ 580248 w 1111250"/>
                    <a:gd name="connsiteY70" fmla="*/ 31385 h 1139825"/>
                    <a:gd name="connsiteX71" fmla="*/ 580248 w 1111250"/>
                    <a:gd name="connsiteY71" fmla="*/ 135524 h 1139825"/>
                    <a:gd name="connsiteX72" fmla="*/ 580248 w 1111250"/>
                    <a:gd name="connsiteY72" fmla="*/ 334530 h 1139825"/>
                    <a:gd name="connsiteX73" fmla="*/ 580248 w 1111250"/>
                    <a:gd name="connsiteY73" fmla="*/ 389452 h 1139825"/>
                    <a:gd name="connsiteX74" fmla="*/ 580248 w 1111250"/>
                    <a:gd name="connsiteY74" fmla="*/ 407284 h 1139825"/>
                    <a:gd name="connsiteX75" fmla="*/ 580248 w 1111250"/>
                    <a:gd name="connsiteY75" fmla="*/ 425116 h 1139825"/>
                    <a:gd name="connsiteX76" fmla="*/ 580248 w 1111250"/>
                    <a:gd name="connsiteY76" fmla="*/ 462207 h 1139825"/>
                    <a:gd name="connsiteX77" fmla="*/ 580248 w 1111250"/>
                    <a:gd name="connsiteY77" fmla="*/ 480039 h 1139825"/>
                    <a:gd name="connsiteX78" fmla="*/ 580248 w 1111250"/>
                    <a:gd name="connsiteY78" fmla="*/ 498584 h 1139825"/>
                    <a:gd name="connsiteX79" fmla="*/ 580248 w 1111250"/>
                    <a:gd name="connsiteY79" fmla="*/ 538528 h 1139825"/>
                    <a:gd name="connsiteX80" fmla="*/ 580248 w 1111250"/>
                    <a:gd name="connsiteY80" fmla="*/ 554934 h 1139825"/>
                    <a:gd name="connsiteX81" fmla="*/ 580248 w 1111250"/>
                    <a:gd name="connsiteY81" fmla="*/ 575619 h 1139825"/>
                    <a:gd name="connsiteX82" fmla="*/ 580248 w 1111250"/>
                    <a:gd name="connsiteY82" fmla="*/ 594878 h 1139825"/>
                    <a:gd name="connsiteX83" fmla="*/ 548845 w 1111250"/>
                    <a:gd name="connsiteY83" fmla="*/ 576332 h 1139825"/>
                    <a:gd name="connsiteX84" fmla="*/ 548845 w 1111250"/>
                    <a:gd name="connsiteY84" fmla="*/ 575619 h 1139825"/>
                    <a:gd name="connsiteX85" fmla="*/ 548845 w 1111250"/>
                    <a:gd name="connsiteY85" fmla="*/ 573479 h 1139825"/>
                    <a:gd name="connsiteX86" fmla="*/ 548845 w 1111250"/>
                    <a:gd name="connsiteY86" fmla="*/ 517130 h 1139825"/>
                    <a:gd name="connsiteX87" fmla="*/ 498171 w 1111250"/>
                    <a:gd name="connsiteY87" fmla="*/ 546374 h 1139825"/>
                    <a:gd name="connsiteX88" fmla="*/ 449639 w 1111250"/>
                    <a:gd name="connsiteY88" fmla="*/ 574906 h 1139825"/>
                    <a:gd name="connsiteX89" fmla="*/ 433937 w 1111250"/>
                    <a:gd name="connsiteY89" fmla="*/ 584178 h 1139825"/>
                    <a:gd name="connsiteX90" fmla="*/ 418236 w 1111250"/>
                    <a:gd name="connsiteY90" fmla="*/ 593451 h 1139825"/>
                    <a:gd name="connsiteX91" fmla="*/ 377554 w 1111250"/>
                    <a:gd name="connsiteY91" fmla="*/ 617703 h 1139825"/>
                    <a:gd name="connsiteX92" fmla="*/ 361139 w 1111250"/>
                    <a:gd name="connsiteY92" fmla="*/ 626975 h 1139825"/>
                    <a:gd name="connsiteX93" fmla="*/ 345437 w 1111250"/>
                    <a:gd name="connsiteY93" fmla="*/ 636248 h 1139825"/>
                    <a:gd name="connsiteX94" fmla="*/ 315461 w 1111250"/>
                    <a:gd name="connsiteY94" fmla="*/ 654080 h 1139825"/>
                    <a:gd name="connsiteX95" fmla="*/ 308324 w 1111250"/>
                    <a:gd name="connsiteY95" fmla="*/ 671912 h 1139825"/>
                    <a:gd name="connsiteX96" fmla="*/ 255509 w 1111250"/>
                    <a:gd name="connsiteY96" fmla="*/ 813142 h 1139825"/>
                    <a:gd name="connsiteX97" fmla="*/ 246945 w 1111250"/>
                    <a:gd name="connsiteY97" fmla="*/ 833114 h 1139825"/>
                    <a:gd name="connsiteX98" fmla="*/ 131323 w 1111250"/>
                    <a:gd name="connsiteY98" fmla="*/ 903015 h 1139825"/>
                    <a:gd name="connsiteX99" fmla="*/ 0 w 1111250"/>
                    <a:gd name="connsiteY99" fmla="*/ 772485 h 1139825"/>
                    <a:gd name="connsiteX100" fmla="*/ 126327 w 1111250"/>
                    <a:gd name="connsiteY100" fmla="*/ 641954 h 1139825"/>
                    <a:gd name="connsiteX101" fmla="*/ 131323 w 1111250"/>
                    <a:gd name="connsiteY101" fmla="*/ 641954 h 1139825"/>
                    <a:gd name="connsiteX102" fmla="*/ 175573 w 1111250"/>
                    <a:gd name="connsiteY102" fmla="*/ 649800 h 1139825"/>
                    <a:gd name="connsiteX103" fmla="*/ 209118 w 1111250"/>
                    <a:gd name="connsiteY103" fmla="*/ 611996 h 1139825"/>
                    <a:gd name="connsiteX104" fmla="*/ 241949 w 1111250"/>
                    <a:gd name="connsiteY104" fmla="*/ 574906 h 1139825"/>
                    <a:gd name="connsiteX105" fmla="*/ 251227 w 1111250"/>
                    <a:gd name="connsiteY105" fmla="*/ 564920 h 1139825"/>
                    <a:gd name="connsiteX106" fmla="*/ 252654 w 1111250"/>
                    <a:gd name="connsiteY106" fmla="*/ 563493 h 1139825"/>
                    <a:gd name="connsiteX107" fmla="*/ 255509 w 1111250"/>
                    <a:gd name="connsiteY107" fmla="*/ 561353 h 1139825"/>
                    <a:gd name="connsiteX108" fmla="*/ 266929 w 1111250"/>
                    <a:gd name="connsiteY108" fmla="*/ 555647 h 1139825"/>
                    <a:gd name="connsiteX109" fmla="*/ 312606 w 1111250"/>
                    <a:gd name="connsiteY109" fmla="*/ 531395 h 1139825"/>
                    <a:gd name="connsiteX110" fmla="*/ 329022 w 1111250"/>
                    <a:gd name="connsiteY110" fmla="*/ 522836 h 1139825"/>
                    <a:gd name="connsiteX111" fmla="*/ 345437 w 1111250"/>
                    <a:gd name="connsiteY111" fmla="*/ 514277 h 1139825"/>
                    <a:gd name="connsiteX112" fmla="*/ 396111 w 1111250"/>
                    <a:gd name="connsiteY112" fmla="*/ 487172 h 1139825"/>
                    <a:gd name="connsiteX113" fmla="*/ 548845 w 1111250"/>
                    <a:gd name="connsiteY113" fmla="*/ 406571 h 1139825"/>
                    <a:gd name="connsiteX114" fmla="*/ 548845 w 1111250"/>
                    <a:gd name="connsiteY114" fmla="*/ 350935 h 1139825"/>
                    <a:gd name="connsiteX115" fmla="*/ 548845 w 1111250"/>
                    <a:gd name="connsiteY115" fmla="*/ 15692 h 1139825"/>
                    <a:gd name="connsiteX116" fmla="*/ 564547 w 1111250"/>
                    <a:gd name="connsiteY116" fmla="*/ 0 h 1139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</a:cxnLst>
                  <a:rect l="l" t="t" r="r" b="b"/>
                  <a:pathLst>
                    <a:path w="1111250" h="1139825">
                      <a:moveTo>
                        <a:pt x="131325" y="673100"/>
                      </a:moveTo>
                      <a:cubicBezTo>
                        <a:pt x="76559" y="673100"/>
                        <a:pt x="31750" y="717356"/>
                        <a:pt x="31750" y="772319"/>
                      </a:cubicBezTo>
                      <a:cubicBezTo>
                        <a:pt x="31750" y="827282"/>
                        <a:pt x="76559" y="871538"/>
                        <a:pt x="131325" y="871538"/>
                      </a:cubicBezTo>
                      <a:cubicBezTo>
                        <a:pt x="167598" y="871538"/>
                        <a:pt x="199605" y="851552"/>
                        <a:pt x="216675" y="821572"/>
                      </a:cubicBezTo>
                      <a:cubicBezTo>
                        <a:pt x="223787" y="810151"/>
                        <a:pt x="228055" y="796589"/>
                        <a:pt x="229477" y="783026"/>
                      </a:cubicBezTo>
                      <a:cubicBezTo>
                        <a:pt x="230188" y="779457"/>
                        <a:pt x="230188" y="775888"/>
                        <a:pt x="230188" y="772319"/>
                      </a:cubicBezTo>
                      <a:cubicBezTo>
                        <a:pt x="230188" y="740198"/>
                        <a:pt x="214541" y="710932"/>
                        <a:pt x="190358" y="693087"/>
                      </a:cubicBezTo>
                      <a:cubicBezTo>
                        <a:pt x="180401" y="685235"/>
                        <a:pt x="169021" y="679524"/>
                        <a:pt x="156930" y="675955"/>
                      </a:cubicBezTo>
                      <a:cubicBezTo>
                        <a:pt x="148395" y="673814"/>
                        <a:pt x="139860" y="673100"/>
                        <a:pt x="131325" y="673100"/>
                      </a:cubicBezTo>
                      <a:close/>
                      <a:moveTo>
                        <a:pt x="498232" y="604837"/>
                      </a:moveTo>
                      <a:cubicBezTo>
                        <a:pt x="498232" y="604837"/>
                        <a:pt x="498232" y="604837"/>
                        <a:pt x="548910" y="634832"/>
                      </a:cubicBezTo>
                      <a:cubicBezTo>
                        <a:pt x="548910" y="634832"/>
                        <a:pt x="548910" y="634832"/>
                        <a:pt x="580316" y="653400"/>
                      </a:cubicBezTo>
                      <a:cubicBezTo>
                        <a:pt x="580316" y="653400"/>
                        <a:pt x="580316" y="653400"/>
                        <a:pt x="611723" y="671254"/>
                      </a:cubicBezTo>
                      <a:cubicBezTo>
                        <a:pt x="611723" y="671254"/>
                        <a:pt x="611723" y="671254"/>
                        <a:pt x="863687" y="818371"/>
                      </a:cubicBezTo>
                      <a:cubicBezTo>
                        <a:pt x="867256" y="819799"/>
                        <a:pt x="870111" y="824084"/>
                        <a:pt x="870824" y="828369"/>
                      </a:cubicBezTo>
                      <a:cubicBezTo>
                        <a:pt x="871538" y="833368"/>
                        <a:pt x="870824" y="837653"/>
                        <a:pt x="867256" y="841224"/>
                      </a:cubicBezTo>
                      <a:cubicBezTo>
                        <a:pt x="857976" y="853365"/>
                        <a:pt x="835849" y="868362"/>
                        <a:pt x="806584" y="868362"/>
                      </a:cubicBezTo>
                      <a:cubicBezTo>
                        <a:pt x="791595" y="868362"/>
                        <a:pt x="774464" y="864077"/>
                        <a:pt x="756620" y="854079"/>
                      </a:cubicBezTo>
                      <a:cubicBezTo>
                        <a:pt x="738062" y="844081"/>
                        <a:pt x="680959" y="814800"/>
                        <a:pt x="611723" y="777664"/>
                      </a:cubicBezTo>
                      <a:cubicBezTo>
                        <a:pt x="601016" y="772665"/>
                        <a:pt x="591023" y="766951"/>
                        <a:pt x="580316" y="761238"/>
                      </a:cubicBezTo>
                      <a:cubicBezTo>
                        <a:pt x="570324" y="755525"/>
                        <a:pt x="559617" y="750526"/>
                        <a:pt x="548910" y="744812"/>
                      </a:cubicBezTo>
                      <a:cubicBezTo>
                        <a:pt x="497518" y="716960"/>
                        <a:pt x="443271" y="689108"/>
                        <a:pt x="396875" y="664827"/>
                      </a:cubicBezTo>
                      <a:cubicBezTo>
                        <a:pt x="396875" y="664827"/>
                        <a:pt x="396875" y="664827"/>
                        <a:pt x="413292" y="654828"/>
                      </a:cubicBezTo>
                      <a:cubicBezTo>
                        <a:pt x="413292" y="654828"/>
                        <a:pt x="413292" y="654828"/>
                        <a:pt x="428995" y="645544"/>
                      </a:cubicBezTo>
                      <a:cubicBezTo>
                        <a:pt x="428995" y="645544"/>
                        <a:pt x="428995" y="645544"/>
                        <a:pt x="466826" y="623405"/>
                      </a:cubicBezTo>
                      <a:cubicBezTo>
                        <a:pt x="466826" y="623405"/>
                        <a:pt x="466826" y="623405"/>
                        <a:pt x="482529" y="614121"/>
                      </a:cubicBezTo>
                      <a:cubicBezTo>
                        <a:pt x="482529" y="614121"/>
                        <a:pt x="482529" y="614121"/>
                        <a:pt x="498232" y="604837"/>
                      </a:cubicBezTo>
                      <a:close/>
                      <a:moveTo>
                        <a:pt x="130969" y="279400"/>
                      </a:moveTo>
                      <a:cubicBezTo>
                        <a:pt x="76720" y="279400"/>
                        <a:pt x="31750" y="323656"/>
                        <a:pt x="31750" y="377905"/>
                      </a:cubicBezTo>
                      <a:cubicBezTo>
                        <a:pt x="31750" y="432868"/>
                        <a:pt x="76720" y="477838"/>
                        <a:pt x="130969" y="477838"/>
                      </a:cubicBezTo>
                      <a:cubicBezTo>
                        <a:pt x="139535" y="477838"/>
                        <a:pt x="148101" y="476411"/>
                        <a:pt x="156666" y="474269"/>
                      </a:cubicBezTo>
                      <a:cubicBezTo>
                        <a:pt x="168801" y="470700"/>
                        <a:pt x="180222" y="464990"/>
                        <a:pt x="190215" y="457852"/>
                      </a:cubicBezTo>
                      <a:cubicBezTo>
                        <a:pt x="214485" y="439293"/>
                        <a:pt x="230188" y="410740"/>
                        <a:pt x="230188" y="377905"/>
                      </a:cubicBezTo>
                      <a:cubicBezTo>
                        <a:pt x="230188" y="374336"/>
                        <a:pt x="230188" y="371481"/>
                        <a:pt x="229474" y="367912"/>
                      </a:cubicBezTo>
                      <a:cubicBezTo>
                        <a:pt x="228047" y="353636"/>
                        <a:pt x="223764" y="340787"/>
                        <a:pt x="216626" y="328653"/>
                      </a:cubicBezTo>
                      <a:cubicBezTo>
                        <a:pt x="199495" y="299387"/>
                        <a:pt x="167373" y="279400"/>
                        <a:pt x="130969" y="279400"/>
                      </a:cubicBezTo>
                      <a:close/>
                      <a:moveTo>
                        <a:pt x="130765" y="247650"/>
                      </a:moveTo>
                      <a:cubicBezTo>
                        <a:pt x="180784" y="247650"/>
                        <a:pt x="224372" y="276202"/>
                        <a:pt x="246523" y="317602"/>
                      </a:cubicBezTo>
                      <a:cubicBezTo>
                        <a:pt x="250096" y="323312"/>
                        <a:pt x="252240" y="330450"/>
                        <a:pt x="255098" y="336874"/>
                      </a:cubicBezTo>
                      <a:cubicBezTo>
                        <a:pt x="255098" y="336874"/>
                        <a:pt x="255098" y="336874"/>
                        <a:pt x="307975" y="478205"/>
                      </a:cubicBezTo>
                      <a:cubicBezTo>
                        <a:pt x="302973" y="481060"/>
                        <a:pt x="298686" y="483201"/>
                        <a:pt x="293684" y="486056"/>
                      </a:cubicBezTo>
                      <a:cubicBezTo>
                        <a:pt x="289397" y="488198"/>
                        <a:pt x="284395" y="491053"/>
                        <a:pt x="280107" y="493194"/>
                      </a:cubicBezTo>
                      <a:cubicBezTo>
                        <a:pt x="253669" y="506756"/>
                        <a:pt x="236519" y="515322"/>
                        <a:pt x="232947" y="517463"/>
                      </a:cubicBezTo>
                      <a:cubicBezTo>
                        <a:pt x="232947" y="517463"/>
                        <a:pt x="232947" y="517463"/>
                        <a:pt x="232232" y="517463"/>
                      </a:cubicBezTo>
                      <a:cubicBezTo>
                        <a:pt x="232232" y="517463"/>
                        <a:pt x="232232" y="517463"/>
                        <a:pt x="225801" y="521032"/>
                      </a:cubicBezTo>
                      <a:cubicBezTo>
                        <a:pt x="223657" y="522460"/>
                        <a:pt x="221514" y="523887"/>
                        <a:pt x="219370" y="526029"/>
                      </a:cubicBezTo>
                      <a:cubicBezTo>
                        <a:pt x="219370" y="526029"/>
                        <a:pt x="219370" y="526029"/>
                        <a:pt x="208652" y="538163"/>
                      </a:cubicBezTo>
                      <a:cubicBezTo>
                        <a:pt x="208652" y="538163"/>
                        <a:pt x="208652" y="538163"/>
                        <a:pt x="175067" y="501046"/>
                      </a:cubicBezTo>
                      <a:cubicBezTo>
                        <a:pt x="161491" y="506043"/>
                        <a:pt x="146485" y="508184"/>
                        <a:pt x="130765" y="508184"/>
                      </a:cubicBezTo>
                      <a:cubicBezTo>
                        <a:pt x="128621" y="508184"/>
                        <a:pt x="127192" y="508184"/>
                        <a:pt x="125763" y="507470"/>
                      </a:cubicBezTo>
                      <a:cubicBezTo>
                        <a:pt x="56450" y="506043"/>
                        <a:pt x="0" y="448225"/>
                        <a:pt x="0" y="377560"/>
                      </a:cubicBezTo>
                      <a:cubicBezTo>
                        <a:pt x="0" y="306181"/>
                        <a:pt x="59309" y="247650"/>
                        <a:pt x="130765" y="247650"/>
                      </a:cubicBezTo>
                      <a:close/>
                      <a:moveTo>
                        <a:pt x="564547" y="0"/>
                      </a:moveTo>
                      <a:cubicBezTo>
                        <a:pt x="564547" y="0"/>
                        <a:pt x="564547" y="0"/>
                        <a:pt x="1095549" y="0"/>
                      </a:cubicBezTo>
                      <a:cubicBezTo>
                        <a:pt x="1104827" y="0"/>
                        <a:pt x="1111250" y="7133"/>
                        <a:pt x="1111250" y="15692"/>
                      </a:cubicBezTo>
                      <a:cubicBezTo>
                        <a:pt x="1111250" y="15692"/>
                        <a:pt x="1111250" y="15692"/>
                        <a:pt x="1111250" y="1124133"/>
                      </a:cubicBezTo>
                      <a:cubicBezTo>
                        <a:pt x="1111250" y="1132692"/>
                        <a:pt x="1104827" y="1139825"/>
                        <a:pt x="1095549" y="1139825"/>
                      </a:cubicBezTo>
                      <a:cubicBezTo>
                        <a:pt x="1095549" y="1139825"/>
                        <a:pt x="1095549" y="1139825"/>
                        <a:pt x="564547" y="1139825"/>
                      </a:cubicBezTo>
                      <a:cubicBezTo>
                        <a:pt x="555982" y="1139825"/>
                        <a:pt x="548845" y="1132692"/>
                        <a:pt x="548845" y="1124133"/>
                      </a:cubicBezTo>
                      <a:cubicBezTo>
                        <a:pt x="548845" y="1124133"/>
                        <a:pt x="548845" y="1124133"/>
                        <a:pt x="548845" y="798876"/>
                      </a:cubicBezTo>
                      <a:cubicBezTo>
                        <a:pt x="559551" y="804583"/>
                        <a:pt x="570256" y="810289"/>
                        <a:pt x="580248" y="815995"/>
                      </a:cubicBezTo>
                      <a:cubicBezTo>
                        <a:pt x="580248" y="815995"/>
                        <a:pt x="580248" y="815995"/>
                        <a:pt x="580248" y="1108441"/>
                      </a:cubicBezTo>
                      <a:cubicBezTo>
                        <a:pt x="580248" y="1108441"/>
                        <a:pt x="580248" y="1108441"/>
                        <a:pt x="1079847" y="1108441"/>
                      </a:cubicBezTo>
                      <a:cubicBezTo>
                        <a:pt x="1079847" y="1108441"/>
                        <a:pt x="1079847" y="1108441"/>
                        <a:pt x="1079847" y="538528"/>
                      </a:cubicBezTo>
                      <a:cubicBezTo>
                        <a:pt x="1079847" y="538528"/>
                        <a:pt x="1079847" y="538528"/>
                        <a:pt x="1080561" y="538528"/>
                      </a:cubicBezTo>
                      <a:cubicBezTo>
                        <a:pt x="1080561" y="538528"/>
                        <a:pt x="1080561" y="538528"/>
                        <a:pt x="1080561" y="507144"/>
                      </a:cubicBezTo>
                      <a:cubicBezTo>
                        <a:pt x="1080561" y="507144"/>
                        <a:pt x="1080561" y="507144"/>
                        <a:pt x="1080561" y="394445"/>
                      </a:cubicBezTo>
                      <a:cubicBezTo>
                        <a:pt x="1080561" y="394445"/>
                        <a:pt x="1080561" y="394445"/>
                        <a:pt x="1080561" y="139803"/>
                      </a:cubicBezTo>
                      <a:cubicBezTo>
                        <a:pt x="1080561" y="137664"/>
                        <a:pt x="1080561" y="136237"/>
                        <a:pt x="1079847" y="134810"/>
                      </a:cubicBezTo>
                      <a:cubicBezTo>
                        <a:pt x="1079847" y="134810"/>
                        <a:pt x="1079847" y="134810"/>
                        <a:pt x="1079847" y="31385"/>
                      </a:cubicBezTo>
                      <a:cubicBezTo>
                        <a:pt x="1079847" y="31385"/>
                        <a:pt x="1079847" y="31385"/>
                        <a:pt x="580248" y="31385"/>
                      </a:cubicBezTo>
                      <a:cubicBezTo>
                        <a:pt x="580248" y="31385"/>
                        <a:pt x="580248" y="31385"/>
                        <a:pt x="580248" y="135524"/>
                      </a:cubicBezTo>
                      <a:cubicBezTo>
                        <a:pt x="580248" y="135524"/>
                        <a:pt x="580248" y="135524"/>
                        <a:pt x="580248" y="334530"/>
                      </a:cubicBezTo>
                      <a:cubicBezTo>
                        <a:pt x="580248" y="334530"/>
                        <a:pt x="580248" y="334530"/>
                        <a:pt x="580248" y="389452"/>
                      </a:cubicBezTo>
                      <a:cubicBezTo>
                        <a:pt x="580248" y="389452"/>
                        <a:pt x="580248" y="389452"/>
                        <a:pt x="580248" y="407284"/>
                      </a:cubicBezTo>
                      <a:cubicBezTo>
                        <a:pt x="580248" y="407284"/>
                        <a:pt x="580248" y="407284"/>
                        <a:pt x="580248" y="425116"/>
                      </a:cubicBezTo>
                      <a:cubicBezTo>
                        <a:pt x="580248" y="425116"/>
                        <a:pt x="580248" y="425116"/>
                        <a:pt x="580248" y="462207"/>
                      </a:cubicBezTo>
                      <a:cubicBezTo>
                        <a:pt x="580248" y="462207"/>
                        <a:pt x="580248" y="462207"/>
                        <a:pt x="580248" y="480039"/>
                      </a:cubicBezTo>
                      <a:cubicBezTo>
                        <a:pt x="580248" y="480039"/>
                        <a:pt x="580248" y="480039"/>
                        <a:pt x="580248" y="498584"/>
                      </a:cubicBezTo>
                      <a:cubicBezTo>
                        <a:pt x="580248" y="498584"/>
                        <a:pt x="580248" y="498584"/>
                        <a:pt x="580248" y="538528"/>
                      </a:cubicBezTo>
                      <a:cubicBezTo>
                        <a:pt x="580248" y="538528"/>
                        <a:pt x="580248" y="538528"/>
                        <a:pt x="580248" y="554934"/>
                      </a:cubicBezTo>
                      <a:cubicBezTo>
                        <a:pt x="580248" y="554934"/>
                        <a:pt x="580248" y="554934"/>
                        <a:pt x="580248" y="575619"/>
                      </a:cubicBezTo>
                      <a:cubicBezTo>
                        <a:pt x="580248" y="575619"/>
                        <a:pt x="580248" y="575619"/>
                        <a:pt x="580248" y="594878"/>
                      </a:cubicBezTo>
                      <a:cubicBezTo>
                        <a:pt x="580248" y="594878"/>
                        <a:pt x="580248" y="594878"/>
                        <a:pt x="548845" y="576332"/>
                      </a:cubicBezTo>
                      <a:cubicBezTo>
                        <a:pt x="548845" y="576332"/>
                        <a:pt x="548845" y="576332"/>
                        <a:pt x="548845" y="575619"/>
                      </a:cubicBezTo>
                      <a:cubicBezTo>
                        <a:pt x="548845" y="575619"/>
                        <a:pt x="548845" y="575619"/>
                        <a:pt x="548845" y="573479"/>
                      </a:cubicBezTo>
                      <a:cubicBezTo>
                        <a:pt x="548845" y="573479"/>
                        <a:pt x="548845" y="573479"/>
                        <a:pt x="548845" y="517130"/>
                      </a:cubicBezTo>
                      <a:cubicBezTo>
                        <a:pt x="548845" y="517130"/>
                        <a:pt x="548845" y="517130"/>
                        <a:pt x="498171" y="546374"/>
                      </a:cubicBezTo>
                      <a:cubicBezTo>
                        <a:pt x="498171" y="546374"/>
                        <a:pt x="498171" y="546374"/>
                        <a:pt x="449639" y="574906"/>
                      </a:cubicBezTo>
                      <a:cubicBezTo>
                        <a:pt x="449639" y="574906"/>
                        <a:pt x="449639" y="574906"/>
                        <a:pt x="433937" y="584178"/>
                      </a:cubicBezTo>
                      <a:cubicBezTo>
                        <a:pt x="433937" y="584178"/>
                        <a:pt x="433937" y="584178"/>
                        <a:pt x="418236" y="593451"/>
                      </a:cubicBezTo>
                      <a:cubicBezTo>
                        <a:pt x="418236" y="593451"/>
                        <a:pt x="418236" y="593451"/>
                        <a:pt x="377554" y="617703"/>
                      </a:cubicBezTo>
                      <a:cubicBezTo>
                        <a:pt x="377554" y="617703"/>
                        <a:pt x="377554" y="617703"/>
                        <a:pt x="361139" y="626975"/>
                      </a:cubicBezTo>
                      <a:cubicBezTo>
                        <a:pt x="361139" y="626975"/>
                        <a:pt x="361139" y="626975"/>
                        <a:pt x="345437" y="636248"/>
                      </a:cubicBezTo>
                      <a:cubicBezTo>
                        <a:pt x="345437" y="636248"/>
                        <a:pt x="345437" y="636248"/>
                        <a:pt x="315461" y="654080"/>
                      </a:cubicBezTo>
                      <a:cubicBezTo>
                        <a:pt x="315461" y="654080"/>
                        <a:pt x="315461" y="654080"/>
                        <a:pt x="308324" y="671912"/>
                      </a:cubicBezTo>
                      <a:cubicBezTo>
                        <a:pt x="308324" y="671912"/>
                        <a:pt x="308324" y="671912"/>
                        <a:pt x="255509" y="813142"/>
                      </a:cubicBezTo>
                      <a:cubicBezTo>
                        <a:pt x="253368" y="820275"/>
                        <a:pt x="250513" y="826694"/>
                        <a:pt x="246945" y="833114"/>
                      </a:cubicBezTo>
                      <a:cubicBezTo>
                        <a:pt x="224820" y="874484"/>
                        <a:pt x="181283" y="903015"/>
                        <a:pt x="131323" y="903015"/>
                      </a:cubicBezTo>
                      <a:cubicBezTo>
                        <a:pt x="59238" y="903015"/>
                        <a:pt x="0" y="844526"/>
                        <a:pt x="0" y="772485"/>
                      </a:cubicBezTo>
                      <a:cubicBezTo>
                        <a:pt x="0" y="701870"/>
                        <a:pt x="56384" y="644094"/>
                        <a:pt x="126327" y="641954"/>
                      </a:cubicBezTo>
                      <a:cubicBezTo>
                        <a:pt x="127755" y="641954"/>
                        <a:pt x="129182" y="641954"/>
                        <a:pt x="131323" y="641954"/>
                      </a:cubicBezTo>
                      <a:cubicBezTo>
                        <a:pt x="147025" y="641954"/>
                        <a:pt x="162013" y="644807"/>
                        <a:pt x="175573" y="649800"/>
                      </a:cubicBezTo>
                      <a:cubicBezTo>
                        <a:pt x="175573" y="649800"/>
                        <a:pt x="175573" y="649800"/>
                        <a:pt x="209118" y="611996"/>
                      </a:cubicBezTo>
                      <a:cubicBezTo>
                        <a:pt x="209118" y="611996"/>
                        <a:pt x="209118" y="611996"/>
                        <a:pt x="241949" y="574906"/>
                      </a:cubicBezTo>
                      <a:cubicBezTo>
                        <a:pt x="241949" y="574906"/>
                        <a:pt x="241949" y="574906"/>
                        <a:pt x="251227" y="564920"/>
                      </a:cubicBezTo>
                      <a:cubicBezTo>
                        <a:pt x="251941" y="564206"/>
                        <a:pt x="252654" y="563493"/>
                        <a:pt x="252654" y="563493"/>
                      </a:cubicBezTo>
                      <a:cubicBezTo>
                        <a:pt x="254082" y="562780"/>
                        <a:pt x="254796" y="562067"/>
                        <a:pt x="255509" y="561353"/>
                      </a:cubicBezTo>
                      <a:cubicBezTo>
                        <a:pt x="256223" y="561353"/>
                        <a:pt x="259792" y="559213"/>
                        <a:pt x="266929" y="555647"/>
                      </a:cubicBezTo>
                      <a:cubicBezTo>
                        <a:pt x="276921" y="550654"/>
                        <a:pt x="292622" y="542095"/>
                        <a:pt x="312606" y="531395"/>
                      </a:cubicBezTo>
                      <a:cubicBezTo>
                        <a:pt x="317602" y="528542"/>
                        <a:pt x="323312" y="525689"/>
                        <a:pt x="329022" y="522836"/>
                      </a:cubicBezTo>
                      <a:cubicBezTo>
                        <a:pt x="334018" y="519983"/>
                        <a:pt x="339727" y="517130"/>
                        <a:pt x="345437" y="514277"/>
                      </a:cubicBezTo>
                      <a:cubicBezTo>
                        <a:pt x="361139" y="505717"/>
                        <a:pt x="378268" y="496445"/>
                        <a:pt x="396111" y="487172"/>
                      </a:cubicBezTo>
                      <a:cubicBezTo>
                        <a:pt x="443216" y="462207"/>
                        <a:pt x="497458" y="433676"/>
                        <a:pt x="548845" y="406571"/>
                      </a:cubicBezTo>
                      <a:cubicBezTo>
                        <a:pt x="548845" y="406571"/>
                        <a:pt x="548845" y="406571"/>
                        <a:pt x="548845" y="350935"/>
                      </a:cubicBezTo>
                      <a:cubicBezTo>
                        <a:pt x="548845" y="350935"/>
                        <a:pt x="548845" y="350935"/>
                        <a:pt x="548845" y="15692"/>
                      </a:cubicBezTo>
                      <a:cubicBezTo>
                        <a:pt x="548845" y="7133"/>
                        <a:pt x="555982" y="0"/>
                        <a:pt x="56454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32" name="ee4pContent1">
            <a:extLst>
              <a:ext uri="{FF2B5EF4-FFF2-40B4-BE49-F238E27FC236}">
                <a16:creationId xmlns:a16="http://schemas.microsoft.com/office/drawing/2014/main" id="{96905351-9A44-4A1E-8639-0E307BCCA6F9}"/>
              </a:ext>
            </a:extLst>
          </p:cNvPr>
          <p:cNvSpPr txBox="1"/>
          <p:nvPr/>
        </p:nvSpPr>
        <p:spPr>
          <a:xfrm>
            <a:off x="1602297" y="2961584"/>
            <a:ext cx="4311941" cy="7688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646464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64646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64646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A859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64646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64646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64646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A859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A859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sz="1600" dirty="0">
                <a:solidFill>
                  <a:schemeClr val="tx1"/>
                </a:solidFill>
              </a:rPr>
              <a:t>Η λιγνιτική δραστηριότητα είναι υπεύθυνη για την </a:t>
            </a:r>
            <a:r>
              <a:rPr lang="el-GR" sz="1600" b="1" dirty="0">
                <a:solidFill>
                  <a:schemeClr val="tx1"/>
                </a:solidFill>
              </a:rPr>
              <a:t>εκπομπή επιβαρυντικών ρύπων</a:t>
            </a:r>
            <a:r>
              <a:rPr lang="el-GR" sz="1600" dirty="0">
                <a:solidFill>
                  <a:schemeClr val="tx1"/>
                </a:solidFill>
              </a:rPr>
              <a:t> για το </a:t>
            </a:r>
            <a:r>
              <a:rPr lang="el-GR" sz="1600" b="1" dirty="0">
                <a:solidFill>
                  <a:schemeClr val="tx1"/>
                </a:solidFill>
              </a:rPr>
              <a:t>περιβάλλον και την υγεία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3" name="ee4pContent1">
            <a:extLst>
              <a:ext uri="{FF2B5EF4-FFF2-40B4-BE49-F238E27FC236}">
                <a16:creationId xmlns:a16="http://schemas.microsoft.com/office/drawing/2014/main" id="{DAB83962-9C05-4B38-BA0F-F5CA8F9100DA}"/>
              </a:ext>
            </a:extLst>
          </p:cNvPr>
          <p:cNvSpPr txBox="1"/>
          <p:nvPr/>
        </p:nvSpPr>
        <p:spPr>
          <a:xfrm>
            <a:off x="1602297" y="4292609"/>
            <a:ext cx="4311941" cy="7688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646464"/>
                </a:solidFill>
                <a:latin typeface="Trebuchet MS" panose="020B0603020202020204" pitchFamily="34" charset="0"/>
              </a:defRPr>
            </a:lvl1pPr>
            <a:lvl2pPr marL="324000" lvl="1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646464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646464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A859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646464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A859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646464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646464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A859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A859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sz="1600" dirty="0">
                <a:solidFill>
                  <a:schemeClr val="tx1"/>
                </a:solidFill>
              </a:rPr>
              <a:t>Η </a:t>
            </a:r>
            <a:r>
              <a:rPr lang="el-GR" sz="1600" dirty="0" err="1">
                <a:solidFill>
                  <a:schemeClr val="tx1"/>
                </a:solidFill>
              </a:rPr>
              <a:t>λιγνιτική</a:t>
            </a:r>
            <a:r>
              <a:rPr lang="el-GR" sz="1600" dirty="0">
                <a:solidFill>
                  <a:schemeClr val="tx1"/>
                </a:solidFill>
              </a:rPr>
              <a:t> δραστηριότητα έχει </a:t>
            </a:r>
            <a:r>
              <a:rPr lang="el-GR" sz="1600" b="1" dirty="0">
                <a:solidFill>
                  <a:schemeClr val="tx1"/>
                </a:solidFill>
              </a:rPr>
              <a:t>υψηλότερο κόστος παραγωγής</a:t>
            </a:r>
            <a:r>
              <a:rPr lang="el-GR" sz="1600" dirty="0">
                <a:solidFill>
                  <a:schemeClr val="tx1"/>
                </a:solidFill>
              </a:rPr>
              <a:t> που επιβαρύνεται επιπλέον από το </a:t>
            </a:r>
            <a:r>
              <a:rPr lang="el-GR" sz="1600" b="1" dirty="0">
                <a:solidFill>
                  <a:schemeClr val="tx1"/>
                </a:solidFill>
              </a:rPr>
              <a:t>κόστος εκπομπών </a:t>
            </a:r>
            <a:r>
              <a:rPr lang="en-US" sz="1600" b="1" dirty="0">
                <a:solidFill>
                  <a:schemeClr val="tx1"/>
                </a:solidFill>
              </a:rPr>
              <a:t>CO2</a:t>
            </a:r>
            <a:r>
              <a:rPr lang="el-GR" sz="1600" b="1" dirty="0">
                <a:solidFill>
                  <a:schemeClr val="tx1"/>
                </a:solidFill>
              </a:rPr>
              <a:t> </a:t>
            </a:r>
            <a:endParaRPr lang="en-US" sz="1600" b="1" dirty="0">
              <a:solidFill>
                <a:schemeClr val="tx1"/>
              </a:solidFill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33858F0-1BFC-42EF-A4D6-E12AEB836103}"/>
              </a:ext>
            </a:extLst>
          </p:cNvPr>
          <p:cNvCxnSpPr/>
          <p:nvPr/>
        </p:nvCxnSpPr>
        <p:spPr>
          <a:xfrm>
            <a:off x="570451" y="3894322"/>
            <a:ext cx="565418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A2667A4-EAE6-4870-ADC1-F360D5BC0958}"/>
              </a:ext>
            </a:extLst>
          </p:cNvPr>
          <p:cNvCxnSpPr>
            <a:cxnSpLocks/>
          </p:cNvCxnSpPr>
          <p:nvPr/>
        </p:nvCxnSpPr>
        <p:spPr>
          <a:xfrm>
            <a:off x="570451" y="5527465"/>
            <a:ext cx="5402510" cy="0"/>
          </a:xfrm>
          <a:prstGeom prst="line">
            <a:avLst/>
          </a:prstGeom>
          <a:ln w="9525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795F221-50D2-42EC-BCA5-B444F1B7248D}"/>
              </a:ext>
            </a:extLst>
          </p:cNvPr>
          <p:cNvCxnSpPr>
            <a:cxnSpLocks/>
          </p:cNvCxnSpPr>
          <p:nvPr/>
        </p:nvCxnSpPr>
        <p:spPr>
          <a:xfrm>
            <a:off x="5914238" y="5527465"/>
            <a:ext cx="5780015" cy="0"/>
          </a:xfrm>
          <a:prstGeom prst="line">
            <a:avLst/>
          </a:prstGeom>
          <a:ln w="9525" cap="rnd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A134846-1BA4-479E-BA60-0EB6F2D29FB6}"/>
              </a:ext>
            </a:extLst>
          </p:cNvPr>
          <p:cNvCxnSpPr>
            <a:cxnSpLocks/>
          </p:cNvCxnSpPr>
          <p:nvPr/>
        </p:nvCxnSpPr>
        <p:spPr>
          <a:xfrm>
            <a:off x="6224631" y="3894322"/>
            <a:ext cx="5469622" cy="0"/>
          </a:xfrm>
          <a:prstGeom prst="line">
            <a:avLst/>
          </a:prstGeom>
          <a:ln w="9525" cap="rnd" cmpd="sng" algn="ctr">
            <a:solidFill>
              <a:schemeClr val="bg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ee4pContent2">
            <a:extLst>
              <a:ext uri="{FF2B5EF4-FFF2-40B4-BE49-F238E27FC236}">
                <a16:creationId xmlns:a16="http://schemas.microsoft.com/office/drawing/2014/main" id="{AFF935BF-DC7E-4B42-B35B-B7F58997D27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713992" y="2854805"/>
            <a:ext cx="4841366" cy="10233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FFFF0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FFFF0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00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sz="1600" dirty="0"/>
              <a:t>Τα επίπεδα </a:t>
            </a:r>
            <a:r>
              <a:rPr lang="el-GR" sz="1600" dirty="0">
                <a:solidFill>
                  <a:schemeClr val="accent3"/>
                </a:solidFill>
              </a:rPr>
              <a:t>βασικών ρύπων </a:t>
            </a:r>
            <a:r>
              <a:rPr lang="el-GR" sz="1600" dirty="0"/>
              <a:t>των μονάδων στην Ελλάδα </a:t>
            </a:r>
            <a:r>
              <a:rPr lang="el-GR" sz="1600" dirty="0">
                <a:solidFill>
                  <a:schemeClr val="accent3"/>
                </a:solidFill>
              </a:rPr>
              <a:t>υπερβαίνουν </a:t>
            </a:r>
            <a:r>
              <a:rPr lang="el-GR" sz="1600" dirty="0">
                <a:solidFill>
                  <a:schemeClr val="bg1"/>
                </a:solidFill>
              </a:rPr>
              <a:t>κατά πολύ </a:t>
            </a:r>
            <a:r>
              <a:rPr lang="el-GR" sz="1600" dirty="0">
                <a:solidFill>
                  <a:schemeClr val="accent3"/>
                </a:solidFill>
              </a:rPr>
              <a:t>τα όρια της ΕΕ</a:t>
            </a:r>
            <a:r>
              <a:rPr lang="en-US" sz="1600" dirty="0">
                <a:solidFill>
                  <a:schemeClr val="accent3"/>
                </a:solidFill>
              </a:rPr>
              <a:t> </a:t>
            </a:r>
            <a:r>
              <a:rPr lang="el-GR" sz="1600" dirty="0">
                <a:solidFill>
                  <a:schemeClr val="bg1"/>
                </a:solidFill>
              </a:rPr>
              <a:t>που επιβαρύνει την ατμόσφαιρα με </a:t>
            </a:r>
            <a:r>
              <a:rPr lang="el-GR" sz="1600" dirty="0">
                <a:solidFill>
                  <a:schemeClr val="accent3"/>
                </a:solidFill>
              </a:rPr>
              <a:t>έμμεσα κόστη για το περιβάλλον και την κοινωνία</a:t>
            </a:r>
            <a:endParaRPr lang="en-US" sz="1600" dirty="0">
              <a:solidFill>
                <a:schemeClr val="accent3"/>
              </a:solidFill>
            </a:endParaRPr>
          </a:p>
        </p:txBody>
      </p:sp>
      <p:sp>
        <p:nvSpPr>
          <p:cNvPr id="48" name="ee4pContent2">
            <a:extLst>
              <a:ext uri="{FF2B5EF4-FFF2-40B4-BE49-F238E27FC236}">
                <a16:creationId xmlns:a16="http://schemas.microsoft.com/office/drawing/2014/main" id="{EF1851CE-B3A3-4D80-BA30-4385DE2BFC1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713992" y="3999227"/>
            <a:ext cx="4841366" cy="9303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FFFFFF"/>
                </a:solidFill>
                <a:latin typeface="Trebuchet MS" panose="020B0603020202020204" pitchFamily="34" charset="0"/>
              </a:defRPr>
            </a:lvl1pPr>
            <a:lvl2pPr marL="324000" lvl="1" indent="-216000"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FFFFFF"/>
                </a:solidFill>
                <a:latin typeface="Trebuchet MS" panose="020B0603020202020204" pitchFamily="34" charset="0"/>
              </a:defRPr>
            </a:lvl2pPr>
            <a:lvl3pPr marL="648000" lvl="2" indent="-216000"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FFFFFF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FFFF0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FFFFFF"/>
                </a:solidFill>
                <a:latin typeface="Trebuchet MS" panose="020B0603020202020204" pitchFamily="34" charset="0"/>
              </a:defRPr>
            </a:lvl5pPr>
            <a:lvl6pPr marL="324000" lvl="5" indent="-216000"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FFFFFF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FFFFFF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FFFF0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FFFF00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el-GR" sz="1600" dirty="0"/>
              <a:t>Η ΔΕΗ έχει συνεχείς </a:t>
            </a:r>
            <a:r>
              <a:rPr lang="el-GR" sz="1600" dirty="0">
                <a:solidFill>
                  <a:schemeClr val="accent3"/>
                </a:solidFill>
              </a:rPr>
              <a:t>ζημιογόνες χρήσεις </a:t>
            </a:r>
            <a:r>
              <a:rPr lang="el-GR" sz="1600" dirty="0"/>
              <a:t>για τα </a:t>
            </a:r>
            <a:r>
              <a:rPr lang="el-GR" sz="1600" dirty="0">
                <a:solidFill>
                  <a:schemeClr val="accent3"/>
                </a:solidFill>
              </a:rPr>
              <a:t>ορυχεία και τη συμβατική παραγωγή</a:t>
            </a:r>
          </a:p>
          <a:p>
            <a:endParaRPr lang="el-GR" sz="1600" dirty="0">
              <a:solidFill>
                <a:schemeClr val="accent3"/>
              </a:solidFill>
            </a:endParaRPr>
          </a:p>
          <a:p>
            <a:r>
              <a:rPr lang="el-GR" sz="1600" dirty="0"/>
              <a:t>Το μέσο μεταβλητό κόστος της λιγνιτικής ενέργειας κυμαίνεται περί τα </a:t>
            </a:r>
            <a:r>
              <a:rPr lang="en-US" sz="1600" dirty="0">
                <a:solidFill>
                  <a:schemeClr val="accent3"/>
                </a:solidFill>
              </a:rPr>
              <a:t>~€80/MWh</a:t>
            </a:r>
            <a:r>
              <a:rPr lang="en-US" sz="1600" baseline="30000" dirty="0">
                <a:solidFill>
                  <a:schemeClr val="accent3"/>
                </a:solidFill>
              </a:rPr>
              <a:t>1</a:t>
            </a:r>
            <a:r>
              <a:rPr lang="en-US" sz="1600" dirty="0">
                <a:solidFill>
                  <a:schemeClr val="accent3"/>
                </a:solidFill>
              </a:rPr>
              <a:t> </a:t>
            </a:r>
            <a:r>
              <a:rPr lang="el-GR" sz="1600" dirty="0"/>
              <a:t>με την Οριακή Τιμή Συστήματος στα</a:t>
            </a:r>
            <a:r>
              <a:rPr lang="el-GR" sz="1600" dirty="0">
                <a:solidFill>
                  <a:schemeClr val="accent3"/>
                </a:solidFill>
              </a:rPr>
              <a:t> ~</a:t>
            </a:r>
            <a:r>
              <a:rPr lang="en-US" sz="1600" dirty="0">
                <a:solidFill>
                  <a:schemeClr val="accent3"/>
                </a:solidFill>
              </a:rPr>
              <a:t>€45/MWh</a:t>
            </a:r>
            <a:r>
              <a:rPr lang="el-GR" sz="1600" dirty="0">
                <a:solidFill>
                  <a:schemeClr val="accent3"/>
                </a:solidFill>
              </a:rPr>
              <a:t> (μέσος όρος έτους)</a:t>
            </a:r>
            <a:endParaRPr lang="en-US" sz="1600" baseline="30000" dirty="0">
              <a:solidFill>
                <a:schemeClr val="accent3"/>
              </a:solidFill>
            </a:endParaRPr>
          </a:p>
        </p:txBody>
      </p:sp>
      <p:sp>
        <p:nvSpPr>
          <p:cNvPr id="50" name="ee4pFootnotes">
            <a:extLst>
              <a:ext uri="{FF2B5EF4-FFF2-40B4-BE49-F238E27FC236}">
                <a16:creationId xmlns:a16="http://schemas.microsoft.com/office/drawing/2014/main" id="{2B674D02-B773-42BD-92BD-5D0744BE25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282941"/>
            <a:ext cx="9030914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latin typeface="Trebuchet MS" panose="020B0603020202020204" pitchFamily="34" charset="0"/>
                <a:cs typeface="Arial" pitchFamily="34" charset="0"/>
              </a:rPr>
              <a:t>1. </a:t>
            </a:r>
            <a:r>
              <a:rPr lang="el-GR" sz="1000" dirty="0">
                <a:latin typeface="Trebuchet MS" panose="020B0603020202020204" pitchFamily="34" charset="0"/>
                <a:cs typeface="Arial" pitchFamily="34" charset="0"/>
              </a:rPr>
              <a:t>Σεπτέμβριος 2020</a:t>
            </a:r>
          </a:p>
          <a:p>
            <a:pPr>
              <a:lnSpc>
                <a:spcPct val="90000"/>
              </a:lnSpc>
            </a:pPr>
            <a:r>
              <a:rPr lang="el-GR" sz="1000" dirty="0">
                <a:latin typeface="Trebuchet MS" panose="020B0603020202020204" pitchFamily="34" charset="0"/>
                <a:cs typeface="Arial" pitchFamily="34" charset="0"/>
              </a:rPr>
              <a:t>Πηγή: ΔΕΗ οικονομικές καταστάσεις, </a:t>
            </a:r>
            <a:r>
              <a:rPr lang="el-GR" sz="1000" dirty="0" err="1">
                <a:latin typeface="Trebuchet MS" panose="020B0603020202020204" pitchFamily="34" charset="0"/>
                <a:cs typeface="Arial" pitchFamily="34" charset="0"/>
              </a:rPr>
              <a:t>ΑΔΜΗΕ</a:t>
            </a:r>
            <a:r>
              <a:rPr lang="el-GR" sz="1000" dirty="0">
                <a:latin typeface="Trebuchet MS" panose="020B0603020202020204" pitchFamily="34" charset="0"/>
                <a:cs typeface="Arial" pitchFamily="34" charset="0"/>
              </a:rPr>
              <a:t>, Ανάλυση Ομάδας </a:t>
            </a:r>
            <a:r>
              <a:rPr lang="el-GR" sz="1000" dirty="0" err="1">
                <a:latin typeface="Trebuchet MS" panose="020B0603020202020204" pitchFamily="34" charset="0"/>
                <a:cs typeface="Arial" pitchFamily="34" charset="0"/>
              </a:rPr>
              <a:t>ΣΔΑΜ</a:t>
            </a:r>
            <a:endParaRPr lang="en-US" sz="1000" dirty="0"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47CA5419-3791-4BE9-8952-61D755811532}"/>
              </a:ext>
            </a:extLst>
          </p:cNvPr>
          <p:cNvSpPr txBox="1">
            <a:spLocks/>
          </p:cNvSpPr>
          <p:nvPr/>
        </p:nvSpPr>
        <p:spPr>
          <a:xfrm>
            <a:off x="6166098" y="622800"/>
            <a:ext cx="5662379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l-GR" dirty="0">
                <a:solidFill>
                  <a:schemeClr val="bg1"/>
                </a:solidFill>
              </a:rPr>
              <a:t>…σχετίζονται με τοπικές και εθνικές προτεραιότητες</a:t>
            </a:r>
            <a:endParaRPr lang="en-US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2787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5ABA23-AA34-4B00-A945-5C296400F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407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5ABA23-AA34-4B00-A945-5C296400F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D41044-D63F-4E62-B516-59DB063B38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4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C73A9BAA-04D5-4E13-AB1C-095F1E331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941796"/>
          </a:xfrm>
        </p:spPr>
        <p:txBody>
          <a:bodyPr/>
          <a:lstStyle/>
          <a:p>
            <a:r>
              <a:rPr lang="el-GR"/>
              <a:t>Στην Ελλάδα, &gt;</a:t>
            </a:r>
            <a:r>
              <a:rPr lang="el-GR" dirty="0"/>
              <a:t>80% της </a:t>
            </a:r>
            <a:r>
              <a:rPr lang="el-GR" dirty="0" err="1"/>
              <a:t>λιγνιτικής</a:t>
            </a:r>
            <a:r>
              <a:rPr lang="el-GR" dirty="0"/>
              <a:t> ισχύος σχεδιάζεται να αφαιρεθεί μέχρι το 2023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12874D-6D1A-476D-9D14-3BC2FF058179}"/>
              </a:ext>
            </a:extLst>
          </p:cNvPr>
          <p:cNvCxnSpPr>
            <a:cxnSpLocks/>
            <a:endCxn id="61" idx="2"/>
          </p:cNvCxnSpPr>
          <p:nvPr/>
        </p:nvCxnSpPr>
        <p:spPr>
          <a:xfrm flipV="1">
            <a:off x="539931" y="2041459"/>
            <a:ext cx="10608062" cy="14028"/>
          </a:xfrm>
          <a:prstGeom prst="line">
            <a:avLst/>
          </a:prstGeom>
          <a:ln w="25400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17D47F0D-8ED3-4123-B788-EFA13A5BC39E}"/>
              </a:ext>
            </a:extLst>
          </p:cNvPr>
          <p:cNvGrpSpPr>
            <a:grpSpLocks noChangeAspect="1"/>
          </p:cNvGrpSpPr>
          <p:nvPr/>
        </p:nvGrpSpPr>
        <p:grpSpPr>
          <a:xfrm>
            <a:off x="1167945" y="1904299"/>
            <a:ext cx="274320" cy="274320"/>
            <a:chOff x="982662" y="1847850"/>
            <a:chExt cx="269875" cy="269875"/>
          </a:xfrm>
        </p:grpSpPr>
        <p:sp>
          <p:nvSpPr>
            <p:cNvPr id="7" name="Oval 50">
              <a:extLst>
                <a:ext uri="{FF2B5EF4-FFF2-40B4-BE49-F238E27FC236}">
                  <a16:creationId xmlns:a16="http://schemas.microsoft.com/office/drawing/2014/main" id="{5EFB891D-1494-4BEC-9A71-BA134034A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51">
              <a:extLst>
                <a:ext uri="{FF2B5EF4-FFF2-40B4-BE49-F238E27FC236}">
                  <a16:creationId xmlns:a16="http://schemas.microsoft.com/office/drawing/2014/main" id="{9892E390-6F14-4FBF-9CF4-41AAEA4A3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BAE67E7-2657-4D6E-995A-4130D5363B18}"/>
              </a:ext>
            </a:extLst>
          </p:cNvPr>
          <p:cNvGrpSpPr>
            <a:grpSpLocks noChangeAspect="1"/>
          </p:cNvGrpSpPr>
          <p:nvPr/>
        </p:nvGrpSpPr>
        <p:grpSpPr>
          <a:xfrm>
            <a:off x="3383107" y="1904299"/>
            <a:ext cx="274320" cy="274320"/>
            <a:chOff x="982662" y="1847850"/>
            <a:chExt cx="269875" cy="269875"/>
          </a:xfrm>
        </p:grpSpPr>
        <p:sp>
          <p:nvSpPr>
            <p:cNvPr id="10" name="Oval 50">
              <a:extLst>
                <a:ext uri="{FF2B5EF4-FFF2-40B4-BE49-F238E27FC236}">
                  <a16:creationId xmlns:a16="http://schemas.microsoft.com/office/drawing/2014/main" id="{F5C1ABCE-ED81-4398-89F7-E0D72FDE91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51">
              <a:extLst>
                <a:ext uri="{FF2B5EF4-FFF2-40B4-BE49-F238E27FC236}">
                  <a16:creationId xmlns:a16="http://schemas.microsoft.com/office/drawing/2014/main" id="{A5042F91-CD84-4433-B516-35FDEAD44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173B119-5955-4C3E-B900-676EA54225FB}"/>
              </a:ext>
            </a:extLst>
          </p:cNvPr>
          <p:cNvGrpSpPr>
            <a:grpSpLocks noChangeAspect="1"/>
          </p:cNvGrpSpPr>
          <p:nvPr/>
        </p:nvGrpSpPr>
        <p:grpSpPr>
          <a:xfrm>
            <a:off x="5598269" y="1904299"/>
            <a:ext cx="274320" cy="274320"/>
            <a:chOff x="982662" y="1847850"/>
            <a:chExt cx="269875" cy="269875"/>
          </a:xfrm>
        </p:grpSpPr>
        <p:sp>
          <p:nvSpPr>
            <p:cNvPr id="13" name="Oval 50">
              <a:extLst>
                <a:ext uri="{FF2B5EF4-FFF2-40B4-BE49-F238E27FC236}">
                  <a16:creationId xmlns:a16="http://schemas.microsoft.com/office/drawing/2014/main" id="{8E6E4B61-ACCD-4B31-94EC-C94868ECA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51">
              <a:extLst>
                <a:ext uri="{FF2B5EF4-FFF2-40B4-BE49-F238E27FC236}">
                  <a16:creationId xmlns:a16="http://schemas.microsoft.com/office/drawing/2014/main" id="{B0F48508-5794-4F61-82C2-C45C98683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68ED74F-BBE7-4CF8-9EBC-FB06E15242BA}"/>
              </a:ext>
            </a:extLst>
          </p:cNvPr>
          <p:cNvGrpSpPr>
            <a:grpSpLocks noChangeAspect="1"/>
          </p:cNvGrpSpPr>
          <p:nvPr/>
        </p:nvGrpSpPr>
        <p:grpSpPr>
          <a:xfrm>
            <a:off x="7813431" y="1904299"/>
            <a:ext cx="274320" cy="274320"/>
            <a:chOff x="982662" y="1847850"/>
            <a:chExt cx="269875" cy="269875"/>
          </a:xfrm>
        </p:grpSpPr>
        <p:sp>
          <p:nvSpPr>
            <p:cNvPr id="16" name="Oval 50">
              <a:extLst>
                <a:ext uri="{FF2B5EF4-FFF2-40B4-BE49-F238E27FC236}">
                  <a16:creationId xmlns:a16="http://schemas.microsoft.com/office/drawing/2014/main" id="{71553595-1D2D-403C-B487-9BE2F5C24E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51">
              <a:extLst>
                <a:ext uri="{FF2B5EF4-FFF2-40B4-BE49-F238E27FC236}">
                  <a16:creationId xmlns:a16="http://schemas.microsoft.com/office/drawing/2014/main" id="{E2FA5792-19ED-4FE8-9920-1244377EB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id="{BD03302E-C8A5-42A8-A12E-3A6392573A00}"/>
              </a:ext>
            </a:extLst>
          </p:cNvPr>
          <p:cNvSpPr/>
          <p:nvPr/>
        </p:nvSpPr>
        <p:spPr>
          <a:xfrm>
            <a:off x="2330390" y="1959163"/>
            <a:ext cx="164592" cy="164592"/>
          </a:xfrm>
          <a:prstGeom prst="ellipse">
            <a:avLst/>
          </a:prstGeom>
          <a:solidFill>
            <a:srgbClr val="29BA74"/>
          </a:solidFill>
          <a:ln w="254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A9BE963-5DF2-4C04-8404-4C547959DA78}"/>
              </a:ext>
            </a:extLst>
          </p:cNvPr>
          <p:cNvSpPr/>
          <p:nvPr/>
        </p:nvSpPr>
        <p:spPr>
          <a:xfrm>
            <a:off x="4545552" y="1959163"/>
            <a:ext cx="164592" cy="164592"/>
          </a:xfrm>
          <a:prstGeom prst="ellipse">
            <a:avLst/>
          </a:prstGeom>
          <a:solidFill>
            <a:srgbClr val="29BA74"/>
          </a:solidFill>
          <a:ln w="254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A6B4019-BF6E-401E-B4A8-9E8958A2211E}"/>
              </a:ext>
            </a:extLst>
          </p:cNvPr>
          <p:cNvSpPr/>
          <p:nvPr/>
        </p:nvSpPr>
        <p:spPr>
          <a:xfrm>
            <a:off x="6760714" y="1959163"/>
            <a:ext cx="164592" cy="164592"/>
          </a:xfrm>
          <a:prstGeom prst="ellipse">
            <a:avLst/>
          </a:prstGeom>
          <a:solidFill>
            <a:srgbClr val="29BA74"/>
          </a:solidFill>
          <a:ln w="254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9EAF338-8688-4A25-B541-565D3829FB23}"/>
              </a:ext>
            </a:extLst>
          </p:cNvPr>
          <p:cNvSpPr/>
          <p:nvPr/>
        </p:nvSpPr>
        <p:spPr>
          <a:xfrm>
            <a:off x="8975876" y="1959163"/>
            <a:ext cx="164592" cy="164592"/>
          </a:xfrm>
          <a:prstGeom prst="ellipse">
            <a:avLst/>
          </a:prstGeom>
          <a:solidFill>
            <a:srgbClr val="29BA74"/>
          </a:solidFill>
          <a:ln w="254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94A3A34-5446-48F7-8B2B-FA5B8B03E8E4}"/>
              </a:ext>
            </a:extLst>
          </p:cNvPr>
          <p:cNvGrpSpPr>
            <a:grpSpLocks noChangeAspect="1"/>
          </p:cNvGrpSpPr>
          <p:nvPr/>
        </p:nvGrpSpPr>
        <p:grpSpPr>
          <a:xfrm>
            <a:off x="10028591" y="1904299"/>
            <a:ext cx="274320" cy="274320"/>
            <a:chOff x="982661" y="1847852"/>
            <a:chExt cx="269875" cy="269875"/>
          </a:xfrm>
        </p:grpSpPr>
        <p:sp>
          <p:nvSpPr>
            <p:cNvPr id="23" name="Oval 50">
              <a:extLst>
                <a:ext uri="{FF2B5EF4-FFF2-40B4-BE49-F238E27FC236}">
                  <a16:creationId xmlns:a16="http://schemas.microsoft.com/office/drawing/2014/main" id="{F3542007-B15E-4D80-A7DE-FFA29CDA6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1" y="1847852"/>
              <a:ext cx="269875" cy="269875"/>
            </a:xfrm>
            <a:prstGeom prst="ellipse">
              <a:avLst/>
            </a:prstGeom>
            <a:solidFill>
              <a:schemeClr val="tx2"/>
            </a:solidFill>
            <a:ln w="254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51">
              <a:extLst>
                <a:ext uri="{FF2B5EF4-FFF2-40B4-BE49-F238E27FC236}">
                  <a16:creationId xmlns:a16="http://schemas.microsoft.com/office/drawing/2014/main" id="{BD9762B8-A56E-432C-A3CD-B159B71BA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EA16C2EA-9131-41CE-837C-DBCFF60A9502}"/>
              </a:ext>
            </a:extLst>
          </p:cNvPr>
          <p:cNvSpPr txBox="1"/>
          <p:nvPr/>
        </p:nvSpPr>
        <p:spPr>
          <a:xfrm>
            <a:off x="8188586" y="2275591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0.26GW</a:t>
            </a:r>
          </a:p>
          <a:p>
            <a:pPr algn="ctr"/>
            <a:r>
              <a:rPr lang="el-GR" sz="1400" dirty="0">
                <a:solidFill>
                  <a:srgbClr val="575757"/>
                </a:solidFill>
              </a:rPr>
              <a:t>Μεγαλόπολη 4</a:t>
            </a:r>
            <a:endParaRPr lang="en-US" sz="1400" baseline="30000" dirty="0" err="1">
              <a:solidFill>
                <a:srgbClr val="575757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4DA3EE-F509-4C41-9617-22268F852035}"/>
              </a:ext>
            </a:extLst>
          </p:cNvPr>
          <p:cNvSpPr txBox="1"/>
          <p:nvPr/>
        </p:nvSpPr>
        <p:spPr>
          <a:xfrm>
            <a:off x="8188586" y="3005130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0.29GW</a:t>
            </a:r>
            <a:br>
              <a:rPr lang="en-US" sz="2000" dirty="0">
                <a:solidFill>
                  <a:srgbClr val="29BA74"/>
                </a:solidFill>
              </a:rPr>
            </a:br>
            <a:r>
              <a:rPr lang="el-GR" sz="1400" dirty="0">
                <a:solidFill>
                  <a:srgbClr val="575757"/>
                </a:solidFill>
              </a:rPr>
              <a:t>Μελίτη 1</a:t>
            </a:r>
            <a:endParaRPr lang="en-US" sz="1400" baseline="30000" dirty="0" err="1">
              <a:solidFill>
                <a:srgbClr val="575757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C3DDAC5-123B-4317-B2F8-3EEEE6C25724}"/>
              </a:ext>
            </a:extLst>
          </p:cNvPr>
          <p:cNvSpPr txBox="1"/>
          <p:nvPr/>
        </p:nvSpPr>
        <p:spPr>
          <a:xfrm>
            <a:off x="8188586" y="3734670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0.34GW</a:t>
            </a:r>
            <a:br>
              <a:rPr lang="en-US" sz="2000" dirty="0">
                <a:solidFill>
                  <a:srgbClr val="29BA74"/>
                </a:solidFill>
              </a:rPr>
            </a:br>
            <a:r>
              <a:rPr lang="el-GR" sz="1400" dirty="0">
                <a:solidFill>
                  <a:srgbClr val="575757"/>
                </a:solidFill>
              </a:rPr>
              <a:t>Άγιος Δημήτριος 5</a:t>
            </a:r>
            <a:endParaRPr lang="en-US" sz="1400" baseline="30000" dirty="0" err="1">
              <a:solidFill>
                <a:srgbClr val="575757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387269D-2E9F-4D97-8281-7FB0BE384FA4}"/>
              </a:ext>
            </a:extLst>
          </p:cNvPr>
          <p:cNvSpPr txBox="1"/>
          <p:nvPr/>
        </p:nvSpPr>
        <p:spPr>
          <a:xfrm>
            <a:off x="3768447" y="2961451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0.25GW</a:t>
            </a:r>
            <a:br>
              <a:rPr lang="en-US" sz="2000" dirty="0">
                <a:solidFill>
                  <a:srgbClr val="29BA74"/>
                </a:solidFill>
              </a:rPr>
            </a:br>
            <a:r>
              <a:rPr lang="el-GR" sz="1400" dirty="0">
                <a:solidFill>
                  <a:srgbClr val="575757"/>
                </a:solidFill>
              </a:rPr>
              <a:t>Μεγαλόπολη 3</a:t>
            </a:r>
            <a:endParaRPr lang="en-US" sz="1400" baseline="30000" dirty="0" err="1">
              <a:solidFill>
                <a:srgbClr val="575757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C97FAF0-4A1F-45E6-8BBB-6020FAC5A599}"/>
              </a:ext>
            </a:extLst>
          </p:cNvPr>
          <p:cNvSpPr txBox="1"/>
          <p:nvPr/>
        </p:nvSpPr>
        <p:spPr>
          <a:xfrm>
            <a:off x="5973425" y="3005130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1.10GW</a:t>
            </a:r>
            <a:br>
              <a:rPr lang="en-US" sz="2000" dirty="0">
                <a:solidFill>
                  <a:srgbClr val="29BA74"/>
                </a:solidFill>
              </a:rPr>
            </a:br>
            <a:r>
              <a:rPr lang="el-GR" sz="1400" dirty="0">
                <a:solidFill>
                  <a:srgbClr val="575757"/>
                </a:solidFill>
              </a:rPr>
              <a:t>Άγιος Δημήτριος 1-4</a:t>
            </a:r>
            <a:endParaRPr lang="en-US" sz="1400" baseline="30000" dirty="0" err="1">
              <a:solidFill>
                <a:srgbClr val="575757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BE63459-D90D-4384-AC33-0CABC5AE11C1}"/>
              </a:ext>
            </a:extLst>
          </p:cNvPr>
          <p:cNvSpPr txBox="1"/>
          <p:nvPr/>
        </p:nvSpPr>
        <p:spPr>
          <a:xfrm>
            <a:off x="3758264" y="2275591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0.56GW</a:t>
            </a:r>
            <a:br>
              <a:rPr lang="en-US" sz="2000" dirty="0">
                <a:solidFill>
                  <a:srgbClr val="29BA74"/>
                </a:solidFill>
              </a:rPr>
            </a:br>
            <a:r>
              <a:rPr lang="el-GR" sz="1400">
                <a:solidFill>
                  <a:srgbClr val="575757"/>
                </a:solidFill>
              </a:rPr>
              <a:t>Καρδιά </a:t>
            </a:r>
            <a:r>
              <a:rPr lang="el-GR" sz="1400" dirty="0">
                <a:solidFill>
                  <a:srgbClr val="575757"/>
                </a:solidFill>
              </a:rPr>
              <a:t>3&amp;4</a:t>
            </a:r>
            <a:endParaRPr lang="en-US" sz="1400" baseline="30000" dirty="0">
              <a:solidFill>
                <a:srgbClr val="575757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7DF50BF-E253-4FE0-8E14-E9B99B362857}"/>
              </a:ext>
            </a:extLst>
          </p:cNvPr>
          <p:cNvSpPr txBox="1"/>
          <p:nvPr/>
        </p:nvSpPr>
        <p:spPr>
          <a:xfrm>
            <a:off x="1557360" y="2275591"/>
            <a:ext cx="1739169" cy="6155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rgbClr val="29BA74"/>
                </a:solidFill>
              </a:rPr>
              <a:t>0.55GW</a:t>
            </a:r>
            <a:br>
              <a:rPr lang="en-US" sz="2000" dirty="0">
                <a:solidFill>
                  <a:srgbClr val="29BA74"/>
                </a:solidFill>
              </a:rPr>
            </a:br>
            <a:r>
              <a:rPr lang="el-GR" sz="1400" dirty="0">
                <a:solidFill>
                  <a:srgbClr val="575757"/>
                </a:solidFill>
              </a:rPr>
              <a:t>Αμύνταιο 1&amp;2</a:t>
            </a:r>
            <a:endParaRPr lang="en-US" sz="1400" baseline="30000" dirty="0" err="1">
              <a:solidFill>
                <a:srgbClr val="575757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A80B8B5-9091-45D1-A316-137AFD0501DA}"/>
              </a:ext>
            </a:extLst>
          </p:cNvPr>
          <p:cNvSpPr/>
          <p:nvPr/>
        </p:nvSpPr>
        <p:spPr>
          <a:xfrm>
            <a:off x="409547" y="4580825"/>
            <a:ext cx="815990" cy="85916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5E7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400" dirty="0">
                <a:solidFill>
                  <a:srgbClr val="FFFFFF"/>
                </a:solidFill>
              </a:rPr>
              <a:t>3,35GW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C3E274C-C610-4D82-B5AF-EF72440E517E}"/>
              </a:ext>
            </a:extLst>
          </p:cNvPr>
          <p:cNvSpPr/>
          <p:nvPr/>
        </p:nvSpPr>
        <p:spPr>
          <a:xfrm>
            <a:off x="1338819" y="4592287"/>
            <a:ext cx="8844350" cy="284855"/>
          </a:xfrm>
          <a:prstGeom prst="rect">
            <a:avLst/>
          </a:prstGeom>
          <a:solidFill>
            <a:srgbClr val="E71C5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C86543B-FB1B-44E4-AE44-2EA1A04F6B99}"/>
              </a:ext>
            </a:extLst>
          </p:cNvPr>
          <p:cNvSpPr/>
          <p:nvPr/>
        </p:nvSpPr>
        <p:spPr>
          <a:xfrm>
            <a:off x="10302911" y="4580825"/>
            <a:ext cx="992996" cy="85916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400" dirty="0">
                <a:solidFill>
                  <a:srgbClr val="FFFFFF"/>
                </a:solidFill>
              </a:rPr>
              <a:t>0,61GW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F426B0-0277-4633-A414-EC3D0A3535B2}"/>
              </a:ext>
            </a:extLst>
          </p:cNvPr>
          <p:cNvSpPr/>
          <p:nvPr/>
        </p:nvSpPr>
        <p:spPr>
          <a:xfrm>
            <a:off x="1933270" y="4580826"/>
            <a:ext cx="98734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–0,55GW</a:t>
            </a:r>
            <a:endParaRPr lang="en-US" sz="1400" baseline="-25000" dirty="0"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66252-9251-456B-BF74-492C68B4EE5A}"/>
              </a:ext>
            </a:extLst>
          </p:cNvPr>
          <p:cNvSpPr/>
          <p:nvPr/>
        </p:nvSpPr>
        <p:spPr>
          <a:xfrm>
            <a:off x="4144358" y="4580826"/>
            <a:ext cx="98734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–0,</a:t>
            </a:r>
            <a:r>
              <a:rPr lang="el-GR" sz="1400" dirty="0">
                <a:solidFill>
                  <a:srgbClr val="FFFFFF"/>
                </a:solidFill>
              </a:rPr>
              <a:t>81</a:t>
            </a:r>
            <a:r>
              <a:rPr lang="en-US" sz="1400" dirty="0">
                <a:solidFill>
                  <a:srgbClr val="FFFFFF"/>
                </a:solidFill>
              </a:rPr>
              <a:t>GW</a:t>
            </a:r>
            <a:endParaRPr lang="en-US" sz="1400" baseline="-25000" dirty="0">
              <a:solidFill>
                <a:srgbClr val="FFFFFF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05EEDB6-4514-417A-B074-1EF58483CFB0}"/>
              </a:ext>
            </a:extLst>
          </p:cNvPr>
          <p:cNvSpPr/>
          <p:nvPr/>
        </p:nvSpPr>
        <p:spPr>
          <a:xfrm>
            <a:off x="6355446" y="4580826"/>
            <a:ext cx="98734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–1,</a:t>
            </a:r>
            <a:r>
              <a:rPr lang="el-GR" sz="1400" dirty="0">
                <a:solidFill>
                  <a:srgbClr val="FFFFFF"/>
                </a:solidFill>
              </a:rPr>
              <a:t>10</a:t>
            </a:r>
            <a:r>
              <a:rPr lang="en-US" sz="1400" dirty="0">
                <a:solidFill>
                  <a:srgbClr val="FFFFFF"/>
                </a:solidFill>
              </a:rPr>
              <a:t>GW</a:t>
            </a:r>
            <a:endParaRPr lang="en-US" sz="1400" baseline="-25000" dirty="0">
              <a:solidFill>
                <a:srgbClr val="FFFFFF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B19BDDA-7DFA-45DF-843C-1EC55C10A5E3}"/>
              </a:ext>
            </a:extLst>
          </p:cNvPr>
          <p:cNvSpPr/>
          <p:nvPr/>
        </p:nvSpPr>
        <p:spPr>
          <a:xfrm>
            <a:off x="8566534" y="4580826"/>
            <a:ext cx="987348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–0,89GW</a:t>
            </a:r>
            <a:endParaRPr lang="en-US" sz="1400" baseline="-25000" dirty="0">
              <a:solidFill>
                <a:srgbClr val="FFFFFF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E3E52A0-1D9B-4AB6-A9DD-3B8E560A52AF}"/>
              </a:ext>
            </a:extLst>
          </p:cNvPr>
          <p:cNvSpPr/>
          <p:nvPr/>
        </p:nvSpPr>
        <p:spPr>
          <a:xfrm>
            <a:off x="5897032" y="4959966"/>
            <a:ext cx="1904178" cy="480027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+0,61GW</a:t>
            </a:r>
          </a:p>
          <a:p>
            <a:pPr algn="ctr"/>
            <a:r>
              <a:rPr lang="el-GR" sz="1400" dirty="0">
                <a:solidFill>
                  <a:srgbClr val="FFFFFF"/>
                </a:solidFill>
              </a:rPr>
              <a:t>Πτολεμαΐδα </a:t>
            </a:r>
            <a:r>
              <a:rPr lang="en-US" sz="1400" dirty="0">
                <a:solidFill>
                  <a:srgbClr val="FFFFFF"/>
                </a:solidFill>
              </a:rPr>
              <a:t>5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CFDC143-F76D-426B-BA3F-8D2C78C2F52E}"/>
              </a:ext>
            </a:extLst>
          </p:cNvPr>
          <p:cNvCxnSpPr/>
          <p:nvPr/>
        </p:nvCxnSpPr>
        <p:spPr>
          <a:xfrm flipH="1">
            <a:off x="1321400" y="2236406"/>
            <a:ext cx="0" cy="209952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8D289E9-1759-4202-BCFF-740C2B8A0720}"/>
              </a:ext>
            </a:extLst>
          </p:cNvPr>
          <p:cNvCxnSpPr/>
          <p:nvPr/>
        </p:nvCxnSpPr>
        <p:spPr>
          <a:xfrm flipH="1">
            <a:off x="3520268" y="2236406"/>
            <a:ext cx="0" cy="209952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542FFF3-1422-441D-A7CE-0BBE960E35C4}"/>
              </a:ext>
            </a:extLst>
          </p:cNvPr>
          <p:cNvCxnSpPr/>
          <p:nvPr/>
        </p:nvCxnSpPr>
        <p:spPr>
          <a:xfrm flipH="1">
            <a:off x="5735429" y="2236406"/>
            <a:ext cx="0" cy="209952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3FA8A68-83DC-48E5-863E-790ED3B01E3B}"/>
              </a:ext>
            </a:extLst>
          </p:cNvPr>
          <p:cNvCxnSpPr/>
          <p:nvPr/>
        </p:nvCxnSpPr>
        <p:spPr>
          <a:xfrm flipH="1">
            <a:off x="7950591" y="2236406"/>
            <a:ext cx="0" cy="209952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EE1DE6D-E5D2-45F7-816A-EFE1E3DC9CDE}"/>
              </a:ext>
            </a:extLst>
          </p:cNvPr>
          <p:cNvCxnSpPr/>
          <p:nvPr/>
        </p:nvCxnSpPr>
        <p:spPr>
          <a:xfrm flipH="1">
            <a:off x="10165751" y="2236406"/>
            <a:ext cx="0" cy="209952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8B2AF3-B153-4FD1-8013-8AA732B68A82}"/>
              </a:ext>
            </a:extLst>
          </p:cNvPr>
          <p:cNvCxnSpPr>
            <a:cxnSpLocks/>
          </p:cNvCxnSpPr>
          <p:nvPr/>
        </p:nvCxnSpPr>
        <p:spPr>
          <a:xfrm>
            <a:off x="361904" y="4458379"/>
            <a:ext cx="11201446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B3A8F1A7-1F81-45E5-9543-1FB9CA4D286A}"/>
              </a:ext>
            </a:extLst>
          </p:cNvPr>
          <p:cNvSpPr txBox="1"/>
          <p:nvPr/>
        </p:nvSpPr>
        <p:spPr>
          <a:xfrm>
            <a:off x="441284" y="2367924"/>
            <a:ext cx="657231" cy="430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l-GR" sz="1400" dirty="0">
                <a:solidFill>
                  <a:srgbClr val="575757"/>
                </a:solidFill>
              </a:rPr>
              <a:t>ΚΑΘΑΡΗ</a:t>
            </a:r>
            <a:br>
              <a:rPr lang="en-US" sz="1400" dirty="0">
                <a:solidFill>
                  <a:srgbClr val="575757"/>
                </a:solidFill>
              </a:rPr>
            </a:br>
            <a:r>
              <a:rPr lang="en-US" sz="1400" dirty="0">
                <a:solidFill>
                  <a:srgbClr val="575757"/>
                </a:solidFill>
              </a:rPr>
              <a:t>I</a:t>
            </a:r>
            <a:r>
              <a:rPr lang="el-GR" sz="1400" dirty="0" err="1">
                <a:solidFill>
                  <a:srgbClr val="575757"/>
                </a:solidFill>
              </a:rPr>
              <a:t>ΣΧΥΣ</a:t>
            </a:r>
            <a:endParaRPr lang="en-US" sz="1400" dirty="0" err="1">
              <a:solidFill>
                <a:srgbClr val="575757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1A9629B-C911-44E1-B9A3-0F9E3093CD57}"/>
              </a:ext>
            </a:extLst>
          </p:cNvPr>
          <p:cNvSpPr txBox="1"/>
          <p:nvPr/>
        </p:nvSpPr>
        <p:spPr>
          <a:xfrm>
            <a:off x="2223531" y="1722428"/>
            <a:ext cx="378309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575757"/>
                </a:solidFill>
              </a:rPr>
              <a:t>202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D2FE1B0-53EE-43CF-97A5-AC709A2B3BC1}"/>
              </a:ext>
            </a:extLst>
          </p:cNvPr>
          <p:cNvSpPr txBox="1"/>
          <p:nvPr/>
        </p:nvSpPr>
        <p:spPr>
          <a:xfrm>
            <a:off x="4438693" y="1722428"/>
            <a:ext cx="378309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575757"/>
                </a:solidFill>
              </a:rPr>
              <a:t>202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267412B-811E-4F9F-9B7E-DB3D559E5FE0}"/>
              </a:ext>
            </a:extLst>
          </p:cNvPr>
          <p:cNvSpPr txBox="1"/>
          <p:nvPr/>
        </p:nvSpPr>
        <p:spPr>
          <a:xfrm>
            <a:off x="6653854" y="1722428"/>
            <a:ext cx="378309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575757"/>
                </a:solidFill>
              </a:rPr>
              <a:t>202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E5C0A6B-56C5-40B8-B76C-14DDCC7BC601}"/>
              </a:ext>
            </a:extLst>
          </p:cNvPr>
          <p:cNvSpPr txBox="1"/>
          <p:nvPr/>
        </p:nvSpPr>
        <p:spPr>
          <a:xfrm>
            <a:off x="8869017" y="1722428"/>
            <a:ext cx="378309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575757"/>
                </a:solidFill>
              </a:rPr>
              <a:t>2023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41E353A-9F85-4775-8BEA-BDE84284A70D}"/>
              </a:ext>
            </a:extLst>
          </p:cNvPr>
          <p:cNvGrpSpPr/>
          <p:nvPr/>
        </p:nvGrpSpPr>
        <p:grpSpPr>
          <a:xfrm>
            <a:off x="630000" y="5854293"/>
            <a:ext cx="1606469" cy="165912"/>
            <a:chOff x="1122325" y="-404036"/>
            <a:chExt cx="1606469" cy="165912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CCDF891-B2A7-4AEA-9798-9A21EC54B3F0}"/>
                </a:ext>
              </a:extLst>
            </p:cNvPr>
            <p:cNvSpPr/>
            <p:nvPr/>
          </p:nvSpPr>
          <p:spPr>
            <a:xfrm>
              <a:off x="1122325" y="-404036"/>
              <a:ext cx="275470" cy="165912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1D34EA46-03EF-4F6A-AA43-76EAE41F286D}"/>
                </a:ext>
              </a:extLst>
            </p:cNvPr>
            <p:cNvSpPr txBox="1"/>
            <p:nvPr/>
          </p:nvSpPr>
          <p:spPr>
            <a:xfrm>
              <a:off x="1453678" y="-398024"/>
              <a:ext cx="1275116" cy="15388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000" dirty="0">
                  <a:solidFill>
                    <a:srgbClr val="575757"/>
                  </a:solidFill>
                </a:rPr>
                <a:t>Εγκατεστημένη ισχύς</a:t>
              </a:r>
              <a:endParaRPr lang="en-US" sz="1000" dirty="0" err="1">
                <a:solidFill>
                  <a:srgbClr val="575757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A9E6F02-A6DF-4D9B-9A7C-5600A758F1C0}"/>
              </a:ext>
            </a:extLst>
          </p:cNvPr>
          <p:cNvGrpSpPr/>
          <p:nvPr/>
        </p:nvGrpSpPr>
        <p:grpSpPr>
          <a:xfrm>
            <a:off x="2491456" y="5854293"/>
            <a:ext cx="1510525" cy="165912"/>
            <a:chOff x="1122325" y="-157977"/>
            <a:chExt cx="1510525" cy="16591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8DE7A4E-03F8-4B39-B2D8-BBCA9B75884E}"/>
                </a:ext>
              </a:extLst>
            </p:cNvPr>
            <p:cNvSpPr/>
            <p:nvPr/>
          </p:nvSpPr>
          <p:spPr>
            <a:xfrm>
              <a:off x="1122325" y="-157977"/>
              <a:ext cx="275470" cy="165912"/>
            </a:xfrm>
            <a:prstGeom prst="rect">
              <a:avLst/>
            </a:prstGeom>
            <a:solidFill>
              <a:srgbClr val="E71C5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E6587BB-D8DC-4CAB-9341-9C3A0A56DCA5}"/>
                </a:ext>
              </a:extLst>
            </p:cNvPr>
            <p:cNvSpPr txBox="1"/>
            <p:nvPr/>
          </p:nvSpPr>
          <p:spPr>
            <a:xfrm>
              <a:off x="1400789" y="-151965"/>
              <a:ext cx="1232061" cy="15388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000" dirty="0" err="1">
                  <a:solidFill>
                    <a:srgbClr val="575757"/>
                  </a:solidFill>
                </a:rPr>
                <a:t>Αφαιρούμενη</a:t>
              </a:r>
              <a:r>
                <a:rPr lang="el-GR" sz="1000" dirty="0">
                  <a:solidFill>
                    <a:srgbClr val="575757"/>
                  </a:solidFill>
                </a:rPr>
                <a:t> ισχύς</a:t>
              </a:r>
              <a:endParaRPr lang="en-US" sz="1000" dirty="0" err="1">
                <a:solidFill>
                  <a:srgbClr val="575757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333CE5D-F2DA-4328-91A1-F4C2185CDF6F}"/>
              </a:ext>
            </a:extLst>
          </p:cNvPr>
          <p:cNvGrpSpPr/>
          <p:nvPr/>
        </p:nvGrpSpPr>
        <p:grpSpPr>
          <a:xfrm>
            <a:off x="4256968" y="5854293"/>
            <a:ext cx="1445318" cy="165912"/>
            <a:chOff x="1122325" y="64808"/>
            <a:chExt cx="1445318" cy="165912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C2DC652-4377-4DA6-9318-A8A4B614A9EA}"/>
                </a:ext>
              </a:extLst>
            </p:cNvPr>
            <p:cNvSpPr/>
            <p:nvPr/>
          </p:nvSpPr>
          <p:spPr>
            <a:xfrm>
              <a:off x="1122325" y="64808"/>
              <a:ext cx="275470" cy="165912"/>
            </a:xfrm>
            <a:prstGeom prst="rect">
              <a:avLst/>
            </a:prstGeom>
            <a:solidFill>
              <a:srgbClr val="29BA74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720C96B-5DFF-4454-B902-7916A6D2607F}"/>
                </a:ext>
              </a:extLst>
            </p:cNvPr>
            <p:cNvSpPr txBox="1"/>
            <p:nvPr/>
          </p:nvSpPr>
          <p:spPr>
            <a:xfrm>
              <a:off x="1426785" y="70820"/>
              <a:ext cx="1140858" cy="15388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000">
                  <a:solidFill>
                    <a:srgbClr val="575757"/>
                  </a:solidFill>
                </a:rPr>
                <a:t>Προστιθέμενη ισχύς</a:t>
              </a:r>
              <a:endParaRPr lang="en-US" sz="1000" dirty="0" err="1">
                <a:solidFill>
                  <a:srgbClr val="575757"/>
                </a:solidFill>
              </a:endParaRPr>
            </a:p>
          </p:txBody>
        </p:sp>
      </p:grpSp>
      <p:sp>
        <p:nvSpPr>
          <p:cNvPr id="61" name="Oval 60">
            <a:extLst>
              <a:ext uri="{FF2B5EF4-FFF2-40B4-BE49-F238E27FC236}">
                <a16:creationId xmlns:a16="http://schemas.microsoft.com/office/drawing/2014/main" id="{2D6F5A33-D960-44DC-8BF6-E41170B9D983}"/>
              </a:ext>
            </a:extLst>
          </p:cNvPr>
          <p:cNvSpPr/>
          <p:nvPr/>
        </p:nvSpPr>
        <p:spPr>
          <a:xfrm>
            <a:off x="11147993" y="1959163"/>
            <a:ext cx="164592" cy="164592"/>
          </a:xfrm>
          <a:prstGeom prst="ellipse">
            <a:avLst/>
          </a:prstGeom>
          <a:solidFill>
            <a:srgbClr val="29BA74"/>
          </a:solidFill>
          <a:ln w="25400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83B6DC5-8E1A-4F14-9CF3-B87C222CFD73}"/>
              </a:ext>
            </a:extLst>
          </p:cNvPr>
          <p:cNvSpPr txBox="1"/>
          <p:nvPr/>
        </p:nvSpPr>
        <p:spPr>
          <a:xfrm>
            <a:off x="11041133" y="1733191"/>
            <a:ext cx="378310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dirty="0">
                <a:solidFill>
                  <a:srgbClr val="575757"/>
                </a:solidFill>
              </a:rPr>
              <a:t>2028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06A2ED6-700A-40A5-8EF6-8320D547FB56}"/>
              </a:ext>
            </a:extLst>
          </p:cNvPr>
          <p:cNvSpPr txBox="1"/>
          <p:nvPr/>
        </p:nvSpPr>
        <p:spPr>
          <a:xfrm>
            <a:off x="10179468" y="2327845"/>
            <a:ext cx="1359815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l-GR" sz="1400" dirty="0">
                <a:solidFill>
                  <a:srgbClr val="575757"/>
                </a:solidFill>
              </a:rPr>
              <a:t>Πτολεμαΐδα </a:t>
            </a:r>
            <a:r>
              <a:rPr lang="en-US" sz="1400" dirty="0">
                <a:solidFill>
                  <a:srgbClr val="575757"/>
                </a:solidFill>
              </a:rPr>
              <a:t>5</a:t>
            </a:r>
            <a:r>
              <a:rPr lang="el-GR" sz="1400" dirty="0">
                <a:solidFill>
                  <a:srgbClr val="575757"/>
                </a:solidFill>
              </a:rPr>
              <a:t> – μετατροπή για χρήση με διαφορετικό καύσιμο</a:t>
            </a:r>
            <a:r>
              <a:rPr lang="en-US" sz="1400" baseline="30000" dirty="0">
                <a:solidFill>
                  <a:srgbClr val="575757"/>
                </a:solidFill>
              </a:rPr>
              <a:t> </a:t>
            </a:r>
          </a:p>
        </p:txBody>
      </p:sp>
      <p:sp>
        <p:nvSpPr>
          <p:cNvPr id="68" name="ee4pFootnotes">
            <a:extLst>
              <a:ext uri="{FF2B5EF4-FFF2-40B4-BE49-F238E27FC236}">
                <a16:creationId xmlns:a16="http://schemas.microsoft.com/office/drawing/2014/main" id="{90572F9D-5E39-4F64-BB35-47352A4CF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Πηγή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:</a:t>
            </a: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ΔΕΗ,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</a:t>
            </a: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Ανάλυση Ομάδας ΣΔΑΜ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CE5DCAD-FCBD-429F-96B1-51047BA48AFE}"/>
              </a:ext>
            </a:extLst>
          </p:cNvPr>
          <p:cNvSpPr/>
          <p:nvPr/>
        </p:nvSpPr>
        <p:spPr>
          <a:xfrm>
            <a:off x="1780994" y="3005130"/>
            <a:ext cx="1291901" cy="3346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1200" dirty="0">
                <a:solidFill>
                  <a:schemeClr val="bg1"/>
                </a:solidFill>
              </a:rPr>
              <a:t>Έκλεισε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01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A0DE73-62C9-4637-9C29-1CF57B822C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8248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5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4E9A80-4D46-4A6A-8909-A2E0BDFB5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28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69149A1-84DA-4C90-AB1E-BB19A79D2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2764203"/>
            <a:ext cx="2921583" cy="1314311"/>
          </a:xfrm>
        </p:spPr>
        <p:txBody>
          <a:bodyPr/>
          <a:lstStyle/>
          <a:p>
            <a:r>
              <a:rPr lang="en-US" sz="2800" dirty="0"/>
              <a:t>12 </a:t>
            </a:r>
            <a:r>
              <a:rPr lang="el-GR" sz="2800" dirty="0"/>
              <a:t>βήματα προς τη μετα-λιγνιτική εποχή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9A0CDCA-7071-4B84-8CBE-F50DB928FC58}"/>
              </a:ext>
            </a:extLst>
          </p:cNvPr>
          <p:cNvGrpSpPr/>
          <p:nvPr/>
        </p:nvGrpSpPr>
        <p:grpSpPr>
          <a:xfrm>
            <a:off x="4149381" y="173539"/>
            <a:ext cx="8234010" cy="523220"/>
            <a:chOff x="3957990" y="173539"/>
            <a:chExt cx="8234010" cy="52322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33A7F723-87ED-4E1C-ACDE-0FF16BFEA7F7}"/>
                </a:ext>
              </a:extLst>
            </p:cNvPr>
            <p:cNvSpPr txBox="1"/>
            <p:nvPr/>
          </p:nvSpPr>
          <p:spPr>
            <a:xfrm>
              <a:off x="4506995" y="173539"/>
              <a:ext cx="7685005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Ταχεία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εγκατάσταση φωτοβολταϊκών ισχύος 2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.3 </a:t>
              </a:r>
              <a:r>
                <a:rPr lang="en-US" sz="1400" b="1" dirty="0">
                  <a:solidFill>
                    <a:srgbClr val="FFFF00"/>
                  </a:solidFill>
                  <a:latin typeface="Trebuchet MS"/>
                </a:rPr>
                <a:t>GW </a:t>
              </a:r>
              <a:r>
                <a:rPr lang="el-GR" sz="1400" b="1" dirty="0">
                  <a:solidFill>
                    <a:schemeClr val="bg1"/>
                  </a:solidFill>
                  <a:latin typeface="Trebuchet MS"/>
                </a:rPr>
                <a:t>στη Δ.Μακεδονία 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400" b="1" dirty="0">
                  <a:solidFill>
                    <a:schemeClr val="bg1"/>
                  </a:solidFill>
                  <a:latin typeface="Trebuchet MS"/>
                </a:rPr>
                <a:t>(πχ σύμπραξη ΔΕΗ-</a:t>
              </a:r>
              <a:r>
                <a:rPr lang="en-US" sz="1400" b="1" dirty="0">
                  <a:solidFill>
                    <a:schemeClr val="bg1"/>
                  </a:solidFill>
                  <a:latin typeface="Trebuchet MS"/>
                </a:rPr>
                <a:t>RWE)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9D1C8C4-92C8-4697-B70C-A2D0C761D970}"/>
                </a:ext>
              </a:extLst>
            </p:cNvPr>
            <p:cNvSpPr/>
            <p:nvPr/>
          </p:nvSpPr>
          <p:spPr>
            <a:xfrm>
              <a:off x="3957990" y="218521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9BDAEFB-E6FB-43EF-AA01-B1B3857E3DE3}"/>
              </a:ext>
            </a:extLst>
          </p:cNvPr>
          <p:cNvGrpSpPr/>
          <p:nvPr/>
        </p:nvGrpSpPr>
        <p:grpSpPr>
          <a:xfrm>
            <a:off x="4149380" y="762577"/>
            <a:ext cx="8201078" cy="523220"/>
            <a:chOff x="3957989" y="815804"/>
            <a:chExt cx="8201078" cy="52322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E6C4879-01D7-49B3-97B7-D19D8342B021}"/>
                </a:ext>
              </a:extLst>
            </p:cNvPr>
            <p:cNvSpPr txBox="1"/>
            <p:nvPr/>
          </p:nvSpPr>
          <p:spPr>
            <a:xfrm>
              <a:off x="4474062" y="815804"/>
              <a:ext cx="7685005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Συμφωνία </a:t>
              </a: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ΕΛΠΕ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με την γερμανική </a:t>
              </a:r>
              <a:r>
                <a:rPr lang="en-US" sz="1400" b="1" dirty="0">
                  <a:solidFill>
                    <a:prstClr val="white"/>
                  </a:solidFill>
                  <a:latin typeface="Trebuchet MS"/>
                </a:rPr>
                <a:t>J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uwi</a:t>
              </a:r>
              <a:r>
                <a:rPr lang="en-US" sz="1400" b="1" dirty="0">
                  <a:solidFill>
                    <a:prstClr val="white"/>
                  </a:solidFill>
                  <a:latin typeface="Trebuchet MS"/>
                </a:rPr>
                <a:t> </a:t>
              </a: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για κατασκευή </a:t>
              </a:r>
              <a:r>
                <a:rPr lang="el-GR" sz="1400" b="1" dirty="0">
                  <a:solidFill>
                    <a:srgbClr val="FFFF00"/>
                  </a:solidFill>
                  <a:latin typeface="Trebuchet MS"/>
                </a:rPr>
                <a:t>Φ/Β πάρκου ισχύος 206</a:t>
              </a:r>
              <a:r>
                <a:rPr lang="en-US" sz="1400" b="1" dirty="0">
                  <a:solidFill>
                    <a:srgbClr val="FFFF00"/>
                  </a:solidFill>
                  <a:latin typeface="Trebuchet MS"/>
                </a:rPr>
                <a:t>MW</a:t>
              </a:r>
              <a:r>
                <a:rPr lang="el-GR" sz="1400" b="1" dirty="0">
                  <a:solidFill>
                    <a:srgbClr val="FFFF00"/>
                  </a:solidFill>
                  <a:latin typeface="Trebuchet MS"/>
                </a:rPr>
                <a:t> </a:t>
              </a:r>
              <a:endParaRPr lang="en-US" sz="1400" b="1" dirty="0">
                <a:solidFill>
                  <a:srgbClr val="FFFF00"/>
                </a:solidFill>
                <a:latin typeface="Trebuchet M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στην Κοζάνη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1A49A13-4A43-472D-BFA7-EA60EF8FC6E7}"/>
                </a:ext>
              </a:extLst>
            </p:cNvPr>
            <p:cNvSpPr/>
            <p:nvPr/>
          </p:nvSpPr>
          <p:spPr>
            <a:xfrm>
              <a:off x="3957989" y="860785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2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CC49793-9EB2-455F-9798-0A925EBE8C4C}"/>
              </a:ext>
            </a:extLst>
          </p:cNvPr>
          <p:cNvGrpSpPr/>
          <p:nvPr/>
        </p:nvGrpSpPr>
        <p:grpSpPr>
          <a:xfrm>
            <a:off x="4149381" y="1351615"/>
            <a:ext cx="8201077" cy="523220"/>
            <a:chOff x="3957990" y="1458069"/>
            <a:chExt cx="8201077" cy="52322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166B387-69C5-40EF-BE16-63D993E41C68}"/>
                </a:ext>
              </a:extLst>
            </p:cNvPr>
            <p:cNvSpPr txBox="1"/>
            <p:nvPr/>
          </p:nvSpPr>
          <p:spPr>
            <a:xfrm>
              <a:off x="4474062" y="1458069"/>
              <a:ext cx="7685005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Πλήρως αυτοχρηματοδοτούμενη εθελούσια έξοδος </a:t>
              </a:r>
              <a:r>
                <a:rPr lang="el-GR" sz="1400" b="1" dirty="0">
                  <a:solidFill>
                    <a:schemeClr val="bg1"/>
                  </a:solidFill>
                  <a:latin typeface="Trebuchet MS"/>
                </a:rPr>
                <a:t>των υπαλλήλων της ΔΕΗ στις λιγνιτικές περιοχές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8838D3D-EE34-4F01-BED6-790360A459DF}"/>
                </a:ext>
              </a:extLst>
            </p:cNvPr>
            <p:cNvSpPr/>
            <p:nvPr/>
          </p:nvSpPr>
          <p:spPr>
            <a:xfrm>
              <a:off x="3957990" y="1503051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5132DB6-7FBD-4AF1-A8F2-18C0DF1CB928}"/>
              </a:ext>
            </a:extLst>
          </p:cNvPr>
          <p:cNvGrpSpPr/>
          <p:nvPr/>
        </p:nvGrpSpPr>
        <p:grpSpPr>
          <a:xfrm>
            <a:off x="4149380" y="1940653"/>
            <a:ext cx="8201078" cy="433257"/>
            <a:chOff x="3957989" y="2037594"/>
            <a:chExt cx="8201078" cy="43325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66FCB28-54F5-4722-8476-EF31D7284445}"/>
                </a:ext>
              </a:extLst>
            </p:cNvPr>
            <p:cNvSpPr txBox="1"/>
            <p:nvPr/>
          </p:nvSpPr>
          <p:spPr>
            <a:xfrm>
              <a:off x="4474062" y="2100334"/>
              <a:ext cx="7685005" cy="30777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Έγκαιρη αποκατάσταση ορυχείων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ΔΕΗ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A86B05D-A4E3-430B-A2D5-E8984B10DED9}"/>
                </a:ext>
              </a:extLst>
            </p:cNvPr>
            <p:cNvSpPr/>
            <p:nvPr/>
          </p:nvSpPr>
          <p:spPr>
            <a:xfrm>
              <a:off x="3957989" y="2037594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4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5F119AD-6716-4EE2-BFF3-56750029FCA9}"/>
              </a:ext>
            </a:extLst>
          </p:cNvPr>
          <p:cNvGrpSpPr/>
          <p:nvPr/>
        </p:nvGrpSpPr>
        <p:grpSpPr>
          <a:xfrm>
            <a:off x="4149380" y="2439728"/>
            <a:ext cx="8016177" cy="523220"/>
            <a:chOff x="3957989" y="2527156"/>
            <a:chExt cx="8016177" cy="52322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26A57F5-2E76-4D8B-AC4C-C346B1A436C5}"/>
                </a:ext>
              </a:extLst>
            </p:cNvPr>
            <p:cNvSpPr txBox="1"/>
            <p:nvPr/>
          </p:nvSpPr>
          <p:spPr>
            <a:xfrm>
              <a:off x="4474062" y="2527156"/>
              <a:ext cx="7500104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Εναλλακτική θέρμανση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περιοχών μετάβασης μετά την απόσυρση των λιγνιτκών μονάδων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52DA99B-4680-42D3-B356-5CD30942A431}"/>
                </a:ext>
              </a:extLst>
            </p:cNvPr>
            <p:cNvSpPr/>
            <p:nvPr/>
          </p:nvSpPr>
          <p:spPr>
            <a:xfrm>
              <a:off x="3957989" y="2572138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5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B66C30B-65B5-45E4-9A2B-F429B93D62F2}"/>
              </a:ext>
            </a:extLst>
          </p:cNvPr>
          <p:cNvGrpSpPr/>
          <p:nvPr/>
        </p:nvGrpSpPr>
        <p:grpSpPr>
          <a:xfrm>
            <a:off x="4149381" y="3007500"/>
            <a:ext cx="8201077" cy="433257"/>
            <a:chOff x="3957990" y="3106681"/>
            <a:chExt cx="8201077" cy="433257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72862A0-A011-47A3-8998-5A847D9ED71B}"/>
                </a:ext>
              </a:extLst>
            </p:cNvPr>
            <p:cNvSpPr txBox="1"/>
            <p:nvPr/>
          </p:nvSpPr>
          <p:spPr>
            <a:xfrm>
              <a:off x="4474062" y="3169421"/>
              <a:ext cx="7685005" cy="30777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Χωροταξικός σχεδιασμός </a:t>
              </a:r>
              <a:r>
                <a:rPr lang="el-GR" sz="1400" b="1" dirty="0">
                  <a:solidFill>
                    <a:srgbClr val="FFFF00"/>
                  </a:solidFill>
                  <a:latin typeface="Trebuchet MS"/>
                </a:rPr>
                <a:t>για την αναπτυξιακή προοπτική των λιγνιτικών περιοχών 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EC75AE9-DF1D-4B2B-AC78-A09A8FB6EC0E}"/>
                </a:ext>
              </a:extLst>
            </p:cNvPr>
            <p:cNvSpPr/>
            <p:nvPr/>
          </p:nvSpPr>
          <p:spPr>
            <a:xfrm>
              <a:off x="3957990" y="3106681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6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20C5B1D-EF09-4DAC-B23D-88163DC7834F}"/>
              </a:ext>
            </a:extLst>
          </p:cNvPr>
          <p:cNvGrpSpPr/>
          <p:nvPr/>
        </p:nvGrpSpPr>
        <p:grpSpPr>
          <a:xfrm>
            <a:off x="4149380" y="3527841"/>
            <a:ext cx="8201078" cy="433257"/>
            <a:chOff x="3957989" y="3533503"/>
            <a:chExt cx="8201078" cy="43325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E6D467C-348B-4AF0-9C4E-D0C98C382394}"/>
                </a:ext>
              </a:extLst>
            </p:cNvPr>
            <p:cNvSpPr txBox="1"/>
            <p:nvPr/>
          </p:nvSpPr>
          <p:spPr>
            <a:xfrm>
              <a:off x="4474062" y="3596243"/>
              <a:ext cx="7685005" cy="30777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Διατήρηση του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εκπτωτικού τιμολογίου της ΔΕΗ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για τις λιγνιτικές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</a:rPr>
                <a:t> περιοχές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3CFD4F3-CD32-46E5-9FF2-E8206D2CD589}"/>
                </a:ext>
              </a:extLst>
            </p:cNvPr>
            <p:cNvSpPr/>
            <p:nvPr/>
          </p:nvSpPr>
          <p:spPr>
            <a:xfrm>
              <a:off x="3957989" y="3533503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7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D1477F7-366C-4B31-8A14-5B6BADDEA4FC}"/>
              </a:ext>
            </a:extLst>
          </p:cNvPr>
          <p:cNvGrpSpPr/>
          <p:nvPr/>
        </p:nvGrpSpPr>
        <p:grpSpPr>
          <a:xfrm>
            <a:off x="4128114" y="4069448"/>
            <a:ext cx="8232977" cy="433257"/>
            <a:chOff x="3926090" y="3960325"/>
            <a:chExt cx="8232977" cy="433257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60E0C37-3DCE-41FC-A9B3-C3A6C5B436EF}"/>
                </a:ext>
              </a:extLst>
            </p:cNvPr>
            <p:cNvSpPr txBox="1"/>
            <p:nvPr/>
          </p:nvSpPr>
          <p:spPr>
            <a:xfrm>
              <a:off x="4474062" y="4023065"/>
              <a:ext cx="7685005" cy="30777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Απόδοση λιγνιτικού πόρου τάξεως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13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0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εκ ευρώ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DBB0F36-81CD-4414-A30F-2ED66CAF58DB}"/>
                </a:ext>
              </a:extLst>
            </p:cNvPr>
            <p:cNvSpPr/>
            <p:nvPr/>
          </p:nvSpPr>
          <p:spPr>
            <a:xfrm>
              <a:off x="3926090" y="3960325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8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3F998EB-CD60-4082-930E-EAA14267F64D}"/>
              </a:ext>
            </a:extLst>
          </p:cNvPr>
          <p:cNvGrpSpPr/>
          <p:nvPr/>
        </p:nvGrpSpPr>
        <p:grpSpPr>
          <a:xfrm>
            <a:off x="4117482" y="4557890"/>
            <a:ext cx="8232976" cy="523220"/>
            <a:chOff x="3926091" y="4449887"/>
            <a:chExt cx="8232976" cy="52322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625222F-C3FD-4FB1-B614-A26D7F9F7B2D}"/>
                </a:ext>
              </a:extLst>
            </p:cNvPr>
            <p:cNvSpPr txBox="1"/>
            <p:nvPr/>
          </p:nvSpPr>
          <p:spPr>
            <a:xfrm>
              <a:off x="4474062" y="4449887"/>
              <a:ext cx="7685005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Χρηματοδότηση των </a:t>
              </a:r>
              <a:r>
                <a:rPr lang="el-GR" sz="1400" b="1" dirty="0">
                  <a:solidFill>
                    <a:srgbClr val="FFFF00"/>
                  </a:solidFill>
                  <a:latin typeface="Trebuchet MS"/>
                </a:rPr>
                <a:t>λιγνιτικών περιοχών τάξεως 60 εκ ευρώ </a:t>
              </a: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από τους </a:t>
              </a:r>
              <a:endParaRPr lang="en-US" sz="1400" b="1" dirty="0">
                <a:solidFill>
                  <a:prstClr val="white"/>
                </a:solidFill>
                <a:latin typeface="Trebuchet M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πλειστηριασμούς δικαιωμάτων εκπομπών διοξειδίου του άνθρακα (Πράσινο Ταμείο)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BFAC4D1-1AD0-4FC4-AE9A-B0D9901FAE38}"/>
                </a:ext>
              </a:extLst>
            </p:cNvPr>
            <p:cNvSpPr/>
            <p:nvPr/>
          </p:nvSpPr>
          <p:spPr>
            <a:xfrm>
              <a:off x="3926091" y="4494868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9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1638181-EEBD-49D8-ADED-641512FFC132}"/>
              </a:ext>
            </a:extLst>
          </p:cNvPr>
          <p:cNvGrpSpPr/>
          <p:nvPr/>
        </p:nvGrpSpPr>
        <p:grpSpPr>
          <a:xfrm>
            <a:off x="3882225" y="5115029"/>
            <a:ext cx="8468233" cy="523220"/>
            <a:chOff x="3690834" y="5092152"/>
            <a:chExt cx="8468233" cy="52322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452F0DE-2591-4D20-85EC-BA357495FE13}"/>
                </a:ext>
              </a:extLst>
            </p:cNvPr>
            <p:cNvSpPr txBox="1"/>
            <p:nvPr/>
          </p:nvSpPr>
          <p:spPr>
            <a:xfrm>
              <a:off x="4474062" y="5092152"/>
              <a:ext cx="7685005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Στήριξη των σχεδίων των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τοπικών ΦΟΔΣΑ για τη δημιουργία μονάδας παραγωγής ενέργειας από απορρίματα 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FCA14D5-F026-4617-800E-25FBBD8D1FB4}"/>
                </a:ext>
              </a:extLst>
            </p:cNvPr>
            <p:cNvSpPr/>
            <p:nvPr/>
          </p:nvSpPr>
          <p:spPr>
            <a:xfrm>
              <a:off x="3926090" y="5137134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3954293-10E5-447F-9B01-1EA155FEBC3D}"/>
                </a:ext>
              </a:extLst>
            </p:cNvPr>
            <p:cNvSpPr txBox="1"/>
            <p:nvPr/>
          </p:nvSpPr>
          <p:spPr>
            <a:xfrm>
              <a:off x="3690834" y="5148458"/>
              <a:ext cx="903768" cy="43325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10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6215344-5A82-4BED-B873-D6F650639D60}"/>
              </a:ext>
            </a:extLst>
          </p:cNvPr>
          <p:cNvGrpSpPr/>
          <p:nvPr/>
        </p:nvGrpSpPr>
        <p:grpSpPr>
          <a:xfrm>
            <a:off x="3882224" y="5704067"/>
            <a:ext cx="8468234" cy="433257"/>
            <a:chOff x="3690833" y="5689437"/>
            <a:chExt cx="8468234" cy="43325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5DC3741-67FF-41B8-A0E2-5FD402A3285C}"/>
                </a:ext>
              </a:extLst>
            </p:cNvPr>
            <p:cNvSpPr txBox="1"/>
            <p:nvPr/>
          </p:nvSpPr>
          <p:spPr>
            <a:xfrm>
              <a:off x="4474062" y="5752177"/>
              <a:ext cx="7685005" cy="30777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400" b="1" dirty="0">
                  <a:solidFill>
                    <a:prstClr val="white"/>
                  </a:solidFill>
                  <a:latin typeface="Trebuchet MS"/>
                </a:rPr>
                <a:t>Ανάδειξη του </a:t>
              </a:r>
              <a:r>
                <a:rPr lang="el-GR" sz="1400" b="1" dirty="0">
                  <a:solidFill>
                    <a:srgbClr val="FFFF00"/>
                  </a:solidFill>
                  <a:latin typeface="Trebuchet MS"/>
                </a:rPr>
                <a:t>αναπτυξιακού ρόλου του Πανεπιστημίου της Δ.Μακεδονίας </a:t>
              </a:r>
              <a:endParaRPr lang="en-US" sz="1400" b="1" dirty="0">
                <a:solidFill>
                  <a:srgbClr val="FFFF00"/>
                </a:solidFill>
                <a:latin typeface="Trebuchet MS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DC28113-7C46-4E0E-9290-3B756E67ED73}"/>
                </a:ext>
              </a:extLst>
            </p:cNvPr>
            <p:cNvSpPr/>
            <p:nvPr/>
          </p:nvSpPr>
          <p:spPr>
            <a:xfrm>
              <a:off x="3926089" y="5689437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0FA34DB-3BE1-4AE7-BD37-28E144044C3F}"/>
                </a:ext>
              </a:extLst>
            </p:cNvPr>
            <p:cNvSpPr txBox="1"/>
            <p:nvPr/>
          </p:nvSpPr>
          <p:spPr>
            <a:xfrm>
              <a:off x="3690833" y="5689437"/>
              <a:ext cx="903768" cy="43325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11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81C0789-1E64-4DB3-BFDB-4B8328D6882D}"/>
              </a:ext>
            </a:extLst>
          </p:cNvPr>
          <p:cNvGrpSpPr/>
          <p:nvPr/>
        </p:nvGrpSpPr>
        <p:grpSpPr>
          <a:xfrm>
            <a:off x="3882224" y="6203143"/>
            <a:ext cx="8468233" cy="523220"/>
            <a:chOff x="3690833" y="6203143"/>
            <a:chExt cx="8468233" cy="52322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1E77D52-2915-4BC6-B42A-E86721A0EB62}"/>
                </a:ext>
              </a:extLst>
            </p:cNvPr>
            <p:cNvSpPr txBox="1"/>
            <p:nvPr/>
          </p:nvSpPr>
          <p:spPr>
            <a:xfrm>
              <a:off x="4474061" y="6203143"/>
              <a:ext cx="7685005" cy="52322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Αίτημα στην Ευρωπαϊκή Επιτροπή να κηρύξει τις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λιγνιτικές περιοχές ως ειδικές φορολογικές ζώνες με ειδικά φορολογικά κίνητρα 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στο πλαίσιο της Δίκαιης Μετάβασης</a:t>
              </a:r>
              <a:endParaRPr lang="en-US" sz="1400" b="1" dirty="0">
                <a:solidFill>
                  <a:schemeClr val="bg1"/>
                </a:solidFill>
                <a:latin typeface="Trebuchet MS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A647665F-F35F-4E0B-BE1E-3B12D5D8336B}"/>
                </a:ext>
              </a:extLst>
            </p:cNvPr>
            <p:cNvSpPr/>
            <p:nvPr/>
          </p:nvSpPr>
          <p:spPr>
            <a:xfrm>
              <a:off x="3926089" y="6248125"/>
              <a:ext cx="433257" cy="433257"/>
            </a:xfrm>
            <a:prstGeom prst="ellipse">
              <a:avLst/>
            </a:prstGeom>
            <a:solidFill>
              <a:schemeClr val="bg1"/>
            </a:solidFill>
            <a:ln w="9525" cap="rnd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002A7F8-B6B0-4B36-B9D6-E48D1A1F68C9}"/>
                </a:ext>
              </a:extLst>
            </p:cNvPr>
            <p:cNvSpPr txBox="1"/>
            <p:nvPr/>
          </p:nvSpPr>
          <p:spPr>
            <a:xfrm>
              <a:off x="3690833" y="6248125"/>
              <a:ext cx="903768" cy="43325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1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603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Object 107" hidden="1">
            <a:extLst>
              <a:ext uri="{FF2B5EF4-FFF2-40B4-BE49-F238E27FC236}">
                <a16:creationId xmlns:a16="http://schemas.microsoft.com/office/drawing/2014/main" id="{0C56CDC2-AAA6-4B95-AB6F-9C1F12BDBA9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84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8" name="Object 107" hidden="1">
                        <a:extLst>
                          <a:ext uri="{FF2B5EF4-FFF2-40B4-BE49-F238E27FC236}">
                            <a16:creationId xmlns:a16="http://schemas.microsoft.com/office/drawing/2014/main" id="{0C56CDC2-AAA6-4B95-AB6F-9C1F12BDBA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Rectangle 106" hidden="1">
            <a:extLst>
              <a:ext uri="{FF2B5EF4-FFF2-40B4-BE49-F238E27FC236}">
                <a16:creationId xmlns:a16="http://schemas.microsoft.com/office/drawing/2014/main" id="{F4727A15-E488-48B8-99C9-1F7B3AD5AB3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0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9669" y="1556524"/>
            <a:ext cx="3530669" cy="3739485"/>
          </a:xfrm>
        </p:spPr>
        <p:txBody>
          <a:bodyPr wrap="square">
            <a:spAutoFit/>
          </a:bodyPr>
          <a:lstStyle/>
          <a:p>
            <a:r>
              <a:rPr lang="el-GR" sz="3000" dirty="0">
                <a:solidFill>
                  <a:schemeClr val="accent3"/>
                </a:solidFill>
              </a:rPr>
              <a:t>Η ρήτρα δίκαιης μετάβασης</a:t>
            </a:r>
            <a:br>
              <a:rPr lang="el-GR" sz="3000" dirty="0">
                <a:solidFill>
                  <a:schemeClr val="accent3"/>
                </a:solidFill>
              </a:rPr>
            </a:br>
            <a:r>
              <a:rPr lang="el-GR" sz="3000" dirty="0"/>
              <a:t>καταλυτικός παράγοντας στην </a:t>
            </a:r>
            <a:r>
              <a:rPr lang="el-GR" sz="3000" dirty="0">
                <a:solidFill>
                  <a:schemeClr val="accent3"/>
                </a:solidFill>
              </a:rPr>
              <a:t>επιτάχυνση και υλοποίηση επενδύσεων στις επηρεαζόμενες περιοχές</a:t>
            </a:r>
            <a:endParaRPr lang="en-US" sz="3000" dirty="0">
              <a:solidFill>
                <a:schemeClr val="accent3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29CB1E0-9710-4FAD-BA5F-A27EA348C768}"/>
              </a:ext>
            </a:extLst>
          </p:cNvPr>
          <p:cNvGrpSpPr/>
          <p:nvPr/>
        </p:nvGrpSpPr>
        <p:grpSpPr>
          <a:xfrm>
            <a:off x="4417046" y="5059194"/>
            <a:ext cx="7695055" cy="679798"/>
            <a:chOff x="4417046" y="5446053"/>
            <a:chExt cx="7695055" cy="679798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39C0CD9-9A9B-4653-925E-7C9B7993BC1C}"/>
                </a:ext>
              </a:extLst>
            </p:cNvPr>
            <p:cNvSpPr txBox="1"/>
            <p:nvPr/>
          </p:nvSpPr>
          <p:spPr>
            <a:xfrm>
              <a:off x="5202941" y="5493564"/>
              <a:ext cx="6909160" cy="55399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l-GR" sz="1600" dirty="0">
                  <a:solidFill>
                    <a:schemeClr val="tx2"/>
                  </a:solidFill>
                </a:rPr>
                <a:t>Επεκτείνεται στο σύνολο των αναπτυξιακών υπουργικών παρεμβάσεων</a:t>
              </a:r>
            </a:p>
            <a:p>
              <a:pPr marL="432000" lvl="1" indent="-288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Ολιστική ενίσχυση και προτεραιοποίηση των λιγνιτικών περιοχών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05F73D4-BE8E-46CE-9081-F720A40DE2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7046" y="5446053"/>
              <a:ext cx="679798" cy="679798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2400" kern="0" dirty="0">
                <a:solidFill>
                  <a:schemeClr val="accent5"/>
                </a:solidFill>
              </a:endParaRPr>
            </a:p>
          </p:txBody>
        </p:sp>
        <p:sp>
          <p:nvSpPr>
            <p:cNvPr id="15" name="AutoShape 8">
              <a:extLst>
                <a:ext uri="{FF2B5EF4-FFF2-40B4-BE49-F238E27FC236}">
                  <a16:creationId xmlns:a16="http://schemas.microsoft.com/office/drawing/2014/main" id="{8ED56EAB-38C0-408F-ACC3-80C3EA7FC63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66218" y="5494955"/>
              <a:ext cx="581456" cy="581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AutoShape 8">
              <a:extLst>
                <a:ext uri="{FF2B5EF4-FFF2-40B4-BE49-F238E27FC236}">
                  <a16:creationId xmlns:a16="http://schemas.microsoft.com/office/drawing/2014/main" id="{E8BB47FA-AFD2-4C50-BC54-B83949CC6E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59250" y="5461594"/>
              <a:ext cx="572293" cy="572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4F11BEC-9C56-4AFB-9CF5-B1AAD670ACCB}"/>
                </a:ext>
              </a:extLst>
            </p:cNvPr>
            <p:cNvGrpSpPr/>
            <p:nvPr/>
          </p:nvGrpSpPr>
          <p:grpSpPr>
            <a:xfrm>
              <a:off x="4536952" y="5501108"/>
              <a:ext cx="416888" cy="473905"/>
              <a:chOff x="5497065" y="2719578"/>
              <a:chExt cx="1197864" cy="1361694"/>
            </a:xfrm>
          </p:grpSpPr>
          <p:sp>
            <p:nvSpPr>
              <p:cNvPr id="63" name="Freeform 10">
                <a:extLst>
                  <a:ext uri="{FF2B5EF4-FFF2-40B4-BE49-F238E27FC236}">
                    <a16:creationId xmlns:a16="http://schemas.microsoft.com/office/drawing/2014/main" id="{07ECB701-5293-43E6-AD19-55F3BF9C75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5" y="3014091"/>
                <a:ext cx="1197864" cy="106718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id="{C752AA2F-DE19-4CCE-9AE0-5E4F27A376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4982" y="2719578"/>
                <a:ext cx="1002030" cy="115595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2" name="ee4pFootnotes">
            <a:extLst>
              <a:ext uri="{FF2B5EF4-FFF2-40B4-BE49-F238E27FC236}">
                <a16:creationId xmlns:a16="http://schemas.microsoft.com/office/drawing/2014/main" id="{0D0B5CE6-AC3B-4276-8E70-0936554FE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7344" y="6420922"/>
            <a:ext cx="6595482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l-GR" sz="1000" dirty="0">
                <a:latin typeface="Trebuchet MS" panose="020B0603020202020204" pitchFamily="34" charset="0"/>
                <a:cs typeface="Arial" pitchFamily="34" charset="0"/>
              </a:rPr>
              <a:t>1. Αφορά </a:t>
            </a:r>
            <a:r>
              <a:rPr lang="el-GR" sz="1000" dirty="0">
                <a:latin typeface="Trebuchet MS" panose="020B0603020202020204" pitchFamily="34" charset="0"/>
              </a:rPr>
              <a:t>τις προσφορές σύνδεσης στο δίκτυο διανομής; </a:t>
            </a:r>
            <a:r>
              <a:rPr lang="el-GR" sz="1000" dirty="0">
                <a:latin typeface="Trebuchet MS" panose="020B0603020202020204" pitchFamily="34" charset="0"/>
                <a:cs typeface="Arial" pitchFamily="34" charset="0"/>
              </a:rPr>
              <a:t>Πηγή: Ανάλυση Ομάδας ΣΔΑΜ</a:t>
            </a:r>
            <a:endParaRPr lang="en-US" sz="1000" dirty="0">
              <a:latin typeface="Trebuchet MS" panose="020B0603020202020204" pitchFamily="34" charset="0"/>
              <a:cs typeface="Arial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49496-A29F-4553-9DF2-CB5C84C12A11}"/>
              </a:ext>
            </a:extLst>
          </p:cNvPr>
          <p:cNvGrpSpPr/>
          <p:nvPr/>
        </p:nvGrpSpPr>
        <p:grpSpPr>
          <a:xfrm>
            <a:off x="4417046" y="2463232"/>
            <a:ext cx="7381377" cy="1032528"/>
            <a:chOff x="4417046" y="2613563"/>
            <a:chExt cx="7381377" cy="103252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CF3FF913-AD07-4B22-BC27-EC42F6BA0773}"/>
                </a:ext>
              </a:extLst>
            </p:cNvPr>
            <p:cNvSpPr txBox="1"/>
            <p:nvPr/>
          </p:nvSpPr>
          <p:spPr>
            <a:xfrm>
              <a:off x="5202941" y="2661206"/>
              <a:ext cx="6595482" cy="98488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l-GR" sz="1600" dirty="0">
                  <a:solidFill>
                    <a:schemeClr val="tx2"/>
                  </a:solidFill>
                </a:rPr>
                <a:t>Δημιουργεί κίνητρα ανάπυξης της ηλεκτροκίνησης</a:t>
              </a:r>
            </a:p>
            <a:p>
              <a:pPr marL="378000" lvl="1" indent="-252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Μείωση φορολογικών συντελεστών και εργοδοτικών εισφορών</a:t>
              </a:r>
            </a:p>
            <a:p>
              <a:pPr marL="378000" lvl="1" indent="-252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Αύξηση των συντελεστών απόσβεσης παγίων</a:t>
              </a:r>
            </a:p>
            <a:p>
              <a:pPr marL="378000" lvl="1" indent="-252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Επιτάχυνση έκδοσης αδειών εγκατάστασης και λειτουργίας </a:t>
              </a:r>
              <a:endParaRPr lang="en-US" sz="1400" dirty="0">
                <a:solidFill>
                  <a:srgbClr val="646464">
                    <a:lumMod val="100000"/>
                  </a:srgbClr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5343100-B677-4FAA-B15C-6F3595C8C2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7046" y="2613563"/>
              <a:ext cx="679798" cy="679798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2400" kern="0" dirty="0">
                <a:solidFill>
                  <a:schemeClr val="accent5"/>
                </a:solidFill>
              </a:endParaRPr>
            </a:p>
          </p:txBody>
        </p:sp>
        <p:sp>
          <p:nvSpPr>
            <p:cNvPr id="36" name="AutoShape 4">
              <a:extLst>
                <a:ext uri="{FF2B5EF4-FFF2-40B4-BE49-F238E27FC236}">
                  <a16:creationId xmlns:a16="http://schemas.microsoft.com/office/drawing/2014/main" id="{141FA43E-0CB5-4FA3-952F-3914CA31AA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67131" y="2663271"/>
              <a:ext cx="579628" cy="5803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sp>
          <p:nvSpPr>
            <p:cNvPr id="89" name="AutoShape 3">
              <a:extLst>
                <a:ext uri="{FF2B5EF4-FFF2-40B4-BE49-F238E27FC236}">
                  <a16:creationId xmlns:a16="http://schemas.microsoft.com/office/drawing/2014/main" id="{F388F335-A38F-42F6-8EFD-CCF5CBD60D0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7946" y="2634560"/>
              <a:ext cx="617998" cy="61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24">
              <a:extLst>
                <a:ext uri="{FF2B5EF4-FFF2-40B4-BE49-F238E27FC236}">
                  <a16:creationId xmlns:a16="http://schemas.microsoft.com/office/drawing/2014/main" id="{90FD5356-A1D0-4002-A963-1E6989BAE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7960" y="2731389"/>
              <a:ext cx="175099" cy="457386"/>
            </a:xfrm>
            <a:custGeom>
              <a:avLst/>
              <a:gdLst>
                <a:gd name="connsiteX0" fmla="*/ 171859 w 1943100"/>
                <a:gd name="connsiteY0" fmla="*/ 1927126 h 5075666"/>
                <a:gd name="connsiteX1" fmla="*/ 339253 w 1943100"/>
                <a:gd name="connsiteY1" fmla="*/ 1931590 h 5075666"/>
                <a:gd name="connsiteX2" fmla="*/ 842180 w 1943100"/>
                <a:gd name="connsiteY2" fmla="*/ 2431653 h 5075666"/>
                <a:gd name="connsiteX3" fmla="*/ 842180 w 1943100"/>
                <a:gd name="connsiteY3" fmla="*/ 4452739 h 5075666"/>
                <a:gd name="connsiteX4" fmla="*/ 1095131 w 1943100"/>
                <a:gd name="connsiteY4" fmla="*/ 4771231 h 5075666"/>
                <a:gd name="connsiteX5" fmla="*/ 1419504 w 1943100"/>
                <a:gd name="connsiteY5" fmla="*/ 4586684 h 5075666"/>
                <a:gd name="connsiteX6" fmla="*/ 1425456 w 1943100"/>
                <a:gd name="connsiteY6" fmla="*/ 4336653 h 5075666"/>
                <a:gd name="connsiteX7" fmla="*/ 1303444 w 1943100"/>
                <a:gd name="connsiteY7" fmla="*/ 3428801 h 5075666"/>
                <a:gd name="connsiteX8" fmla="*/ 1187384 w 1943100"/>
                <a:gd name="connsiteY8" fmla="*/ 2011957 h 5075666"/>
                <a:gd name="connsiteX9" fmla="*/ 1496878 w 1943100"/>
                <a:gd name="connsiteY9" fmla="*/ 2011957 h 5075666"/>
                <a:gd name="connsiteX10" fmla="*/ 1589131 w 1943100"/>
                <a:gd name="connsiteY10" fmla="*/ 3291880 h 5075666"/>
                <a:gd name="connsiteX11" fmla="*/ 1734950 w 1943100"/>
                <a:gd name="connsiteY11" fmla="*/ 4372372 h 5075666"/>
                <a:gd name="connsiteX12" fmla="*/ 1178456 w 1943100"/>
                <a:gd name="connsiteY12" fmla="*/ 5074841 h 5075666"/>
                <a:gd name="connsiteX13" fmla="*/ 541614 w 1943100"/>
                <a:gd name="connsiteY13" fmla="*/ 4440833 h 5075666"/>
                <a:gd name="connsiteX14" fmla="*/ 541614 w 1943100"/>
                <a:gd name="connsiteY14" fmla="*/ 2458442 h 5075666"/>
                <a:gd name="connsiteX15" fmla="*/ 312470 w 1943100"/>
                <a:gd name="connsiteY15" fmla="*/ 2229247 h 5075666"/>
                <a:gd name="connsiteX16" fmla="*/ 0 w 1943100"/>
                <a:gd name="connsiteY16" fmla="*/ 2229247 h 5075666"/>
                <a:gd name="connsiteX17" fmla="*/ 0 w 1943100"/>
                <a:gd name="connsiteY17" fmla="*/ 1931590 h 5075666"/>
                <a:gd name="connsiteX18" fmla="*/ 171859 w 1943100"/>
                <a:gd name="connsiteY18" fmla="*/ 1927126 h 5075666"/>
                <a:gd name="connsiteX19" fmla="*/ 925422 w 1943100"/>
                <a:gd name="connsiteY19" fmla="*/ 0 h 5075666"/>
                <a:gd name="connsiteX20" fmla="*/ 1054100 w 1943100"/>
                <a:gd name="connsiteY20" fmla="*/ 127992 h 5075666"/>
                <a:gd name="connsiteX21" fmla="*/ 1054100 w 1943100"/>
                <a:gd name="connsiteY21" fmla="*/ 491133 h 5075666"/>
                <a:gd name="connsiteX22" fmla="*/ 925422 w 1943100"/>
                <a:gd name="connsiteY22" fmla="*/ 619125 h 5075666"/>
                <a:gd name="connsiteX23" fmla="*/ 793750 w 1943100"/>
                <a:gd name="connsiteY23" fmla="*/ 491133 h 5075666"/>
                <a:gd name="connsiteX24" fmla="*/ 793750 w 1943100"/>
                <a:gd name="connsiteY24" fmla="*/ 127992 h 5075666"/>
                <a:gd name="connsiteX25" fmla="*/ 925422 w 1943100"/>
                <a:gd name="connsiteY25" fmla="*/ 0 h 5075666"/>
                <a:gd name="connsiteX26" fmla="*/ 1812611 w 1943100"/>
                <a:gd name="connsiteY26" fmla="*/ 0 h 5075666"/>
                <a:gd name="connsiteX27" fmla="*/ 1943100 w 1943100"/>
                <a:gd name="connsiteY27" fmla="*/ 127992 h 5075666"/>
                <a:gd name="connsiteX28" fmla="*/ 1943100 w 1943100"/>
                <a:gd name="connsiteY28" fmla="*/ 491133 h 5075666"/>
                <a:gd name="connsiteX29" fmla="*/ 1812611 w 1943100"/>
                <a:gd name="connsiteY29" fmla="*/ 619125 h 5075666"/>
                <a:gd name="connsiteX30" fmla="*/ 1673225 w 1943100"/>
                <a:gd name="connsiteY30" fmla="*/ 491133 h 5075666"/>
                <a:gd name="connsiteX31" fmla="*/ 1673225 w 1943100"/>
                <a:gd name="connsiteY31" fmla="*/ 127992 h 5075666"/>
                <a:gd name="connsiteX32" fmla="*/ 1812611 w 1943100"/>
                <a:gd name="connsiteY32" fmla="*/ 0 h 5075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43100" h="5075666">
                  <a:moveTo>
                    <a:pt x="171859" y="1927126"/>
                  </a:moveTo>
                  <a:cubicBezTo>
                    <a:pt x="227657" y="1927126"/>
                    <a:pt x="282711" y="1928614"/>
                    <a:pt x="339253" y="1931590"/>
                  </a:cubicBezTo>
                  <a:cubicBezTo>
                    <a:pt x="660650" y="1931590"/>
                    <a:pt x="842180" y="2110184"/>
                    <a:pt x="842180" y="2431653"/>
                  </a:cubicBezTo>
                  <a:cubicBezTo>
                    <a:pt x="842180" y="3104356"/>
                    <a:pt x="842180" y="3780036"/>
                    <a:pt x="842180" y="4452739"/>
                  </a:cubicBezTo>
                  <a:cubicBezTo>
                    <a:pt x="842180" y="4622403"/>
                    <a:pt x="943360" y="4744442"/>
                    <a:pt x="1095131" y="4771231"/>
                  </a:cubicBezTo>
                  <a:cubicBezTo>
                    <a:pt x="1229047" y="4798020"/>
                    <a:pt x="1380818" y="4720630"/>
                    <a:pt x="1419504" y="4586684"/>
                  </a:cubicBezTo>
                  <a:cubicBezTo>
                    <a:pt x="1440336" y="4506317"/>
                    <a:pt x="1437360" y="4417020"/>
                    <a:pt x="1425456" y="4336653"/>
                  </a:cubicBezTo>
                  <a:cubicBezTo>
                    <a:pt x="1389745" y="4030067"/>
                    <a:pt x="1333203" y="3732411"/>
                    <a:pt x="1303444" y="3428801"/>
                  </a:cubicBezTo>
                  <a:cubicBezTo>
                    <a:pt x="1258806" y="2964458"/>
                    <a:pt x="1226071" y="2500114"/>
                    <a:pt x="1187384" y="2011957"/>
                  </a:cubicBezTo>
                  <a:cubicBezTo>
                    <a:pt x="1187384" y="2011957"/>
                    <a:pt x="1187384" y="2011957"/>
                    <a:pt x="1496878" y="2011957"/>
                  </a:cubicBezTo>
                  <a:cubicBezTo>
                    <a:pt x="1526637" y="2431653"/>
                    <a:pt x="1547468" y="2863254"/>
                    <a:pt x="1589131" y="3291880"/>
                  </a:cubicBezTo>
                  <a:cubicBezTo>
                    <a:pt x="1624841" y="3655020"/>
                    <a:pt x="1690311" y="4012208"/>
                    <a:pt x="1734950" y="4372372"/>
                  </a:cubicBezTo>
                  <a:cubicBezTo>
                    <a:pt x="1779588" y="4753372"/>
                    <a:pt x="1538540" y="5056981"/>
                    <a:pt x="1178456" y="5074841"/>
                  </a:cubicBezTo>
                  <a:cubicBezTo>
                    <a:pt x="821349" y="5092700"/>
                    <a:pt x="541614" y="4818856"/>
                    <a:pt x="541614" y="4440833"/>
                  </a:cubicBezTo>
                  <a:cubicBezTo>
                    <a:pt x="541614" y="3780036"/>
                    <a:pt x="541614" y="3119239"/>
                    <a:pt x="541614" y="2458442"/>
                  </a:cubicBezTo>
                  <a:cubicBezTo>
                    <a:pt x="541614" y="2270918"/>
                    <a:pt x="499951" y="2229247"/>
                    <a:pt x="312470" y="2229247"/>
                  </a:cubicBezTo>
                  <a:cubicBezTo>
                    <a:pt x="211289" y="2229247"/>
                    <a:pt x="110109" y="2229247"/>
                    <a:pt x="0" y="2229247"/>
                  </a:cubicBezTo>
                  <a:cubicBezTo>
                    <a:pt x="0" y="2229247"/>
                    <a:pt x="0" y="2229247"/>
                    <a:pt x="0" y="1931590"/>
                  </a:cubicBezTo>
                  <a:cubicBezTo>
                    <a:pt x="59518" y="1928614"/>
                    <a:pt x="116060" y="1927126"/>
                    <a:pt x="171859" y="1927126"/>
                  </a:cubicBezTo>
                  <a:close/>
                  <a:moveTo>
                    <a:pt x="925422" y="0"/>
                  </a:moveTo>
                  <a:cubicBezTo>
                    <a:pt x="997242" y="0"/>
                    <a:pt x="1054100" y="59531"/>
                    <a:pt x="1054100" y="127992"/>
                  </a:cubicBezTo>
                  <a:cubicBezTo>
                    <a:pt x="1054100" y="491133"/>
                    <a:pt x="1054100" y="491133"/>
                    <a:pt x="1054100" y="491133"/>
                  </a:cubicBezTo>
                  <a:cubicBezTo>
                    <a:pt x="1054100" y="559594"/>
                    <a:pt x="997242" y="619125"/>
                    <a:pt x="925422" y="619125"/>
                  </a:cubicBezTo>
                  <a:cubicBezTo>
                    <a:pt x="850608" y="619125"/>
                    <a:pt x="793750" y="559594"/>
                    <a:pt x="793750" y="491133"/>
                  </a:cubicBezTo>
                  <a:cubicBezTo>
                    <a:pt x="793750" y="127992"/>
                    <a:pt x="793750" y="127992"/>
                    <a:pt x="793750" y="127992"/>
                  </a:cubicBezTo>
                  <a:cubicBezTo>
                    <a:pt x="793750" y="59531"/>
                    <a:pt x="850608" y="0"/>
                    <a:pt x="925422" y="0"/>
                  </a:cubicBezTo>
                  <a:close/>
                  <a:moveTo>
                    <a:pt x="1812611" y="0"/>
                  </a:moveTo>
                  <a:cubicBezTo>
                    <a:pt x="1883787" y="0"/>
                    <a:pt x="1943100" y="59531"/>
                    <a:pt x="1943100" y="127992"/>
                  </a:cubicBezTo>
                  <a:cubicBezTo>
                    <a:pt x="1943100" y="491133"/>
                    <a:pt x="1943100" y="491133"/>
                    <a:pt x="1943100" y="491133"/>
                  </a:cubicBezTo>
                  <a:cubicBezTo>
                    <a:pt x="1943100" y="559594"/>
                    <a:pt x="1883787" y="619125"/>
                    <a:pt x="1812611" y="619125"/>
                  </a:cubicBezTo>
                  <a:cubicBezTo>
                    <a:pt x="1735504" y="619125"/>
                    <a:pt x="1673225" y="559594"/>
                    <a:pt x="1673225" y="491133"/>
                  </a:cubicBezTo>
                  <a:cubicBezTo>
                    <a:pt x="1673225" y="127992"/>
                    <a:pt x="1673225" y="127992"/>
                    <a:pt x="1673225" y="127992"/>
                  </a:cubicBezTo>
                  <a:cubicBezTo>
                    <a:pt x="1673225" y="59531"/>
                    <a:pt x="1735504" y="0"/>
                    <a:pt x="181261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97" name="Freeform 23">
              <a:extLst>
                <a:ext uri="{FF2B5EF4-FFF2-40B4-BE49-F238E27FC236}">
                  <a16:creationId xmlns:a16="http://schemas.microsoft.com/office/drawing/2014/main" id="{E13637A3-44F2-4698-A5FD-2D96652A7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800" y="2698343"/>
              <a:ext cx="416290" cy="485529"/>
            </a:xfrm>
            <a:custGeom>
              <a:avLst/>
              <a:gdLst>
                <a:gd name="connsiteX0" fmla="*/ 1182870 w 4619625"/>
                <a:gd name="connsiteY0" fmla="*/ 2290808 h 5387975"/>
                <a:gd name="connsiteX1" fmla="*/ 1169987 w 4619625"/>
                <a:gd name="connsiteY1" fmla="*/ 2301878 h 5387975"/>
                <a:gd name="connsiteX2" fmla="*/ 559792 w 4619625"/>
                <a:gd name="connsiteY2" fmla="*/ 3415237 h 5387975"/>
                <a:gd name="connsiteX3" fmla="*/ 589558 w 4619625"/>
                <a:gd name="connsiteY3" fmla="*/ 3453936 h 5387975"/>
                <a:gd name="connsiteX4" fmla="*/ 952698 w 4619625"/>
                <a:gd name="connsiteY4" fmla="*/ 3358676 h 5387975"/>
                <a:gd name="connsiteX5" fmla="*/ 985440 w 4619625"/>
                <a:gd name="connsiteY5" fmla="*/ 3388444 h 5387975"/>
                <a:gd name="connsiteX6" fmla="*/ 881261 w 4619625"/>
                <a:gd name="connsiteY6" fmla="*/ 4025500 h 5387975"/>
                <a:gd name="connsiteX7" fmla="*/ 928886 w 4619625"/>
                <a:gd name="connsiteY7" fmla="*/ 4040384 h 5387975"/>
                <a:gd name="connsiteX8" fmla="*/ 1539081 w 4619625"/>
                <a:gd name="connsiteY8" fmla="*/ 2927026 h 5387975"/>
                <a:gd name="connsiteX9" fmla="*/ 1506339 w 4619625"/>
                <a:gd name="connsiteY9" fmla="*/ 2888326 h 5387975"/>
                <a:gd name="connsiteX10" fmla="*/ 1149151 w 4619625"/>
                <a:gd name="connsiteY10" fmla="*/ 2986564 h 5387975"/>
                <a:gd name="connsiteX11" fmla="*/ 1113433 w 4619625"/>
                <a:gd name="connsiteY11" fmla="*/ 2956795 h 5387975"/>
                <a:gd name="connsiteX12" fmla="*/ 1217612 w 4619625"/>
                <a:gd name="connsiteY12" fmla="*/ 2316763 h 5387975"/>
                <a:gd name="connsiteX13" fmla="*/ 1182870 w 4619625"/>
                <a:gd name="connsiteY13" fmla="*/ 2290808 h 5387975"/>
                <a:gd name="connsiteX14" fmla="*/ 2982912 w 4619625"/>
                <a:gd name="connsiteY14" fmla="*/ 1152525 h 5387975"/>
                <a:gd name="connsiteX15" fmla="*/ 4619625 w 4619625"/>
                <a:gd name="connsiteY15" fmla="*/ 1152525 h 5387975"/>
                <a:gd name="connsiteX16" fmla="*/ 4619625 w 4619625"/>
                <a:gd name="connsiteY16" fmla="*/ 1381807 h 5387975"/>
                <a:gd name="connsiteX17" fmla="*/ 3798293 w 4619625"/>
                <a:gd name="connsiteY17" fmla="*/ 2206625 h 5387975"/>
                <a:gd name="connsiteX18" fmla="*/ 2982912 w 4619625"/>
                <a:gd name="connsiteY18" fmla="*/ 1381807 h 5387975"/>
                <a:gd name="connsiteX19" fmla="*/ 2982912 w 4619625"/>
                <a:gd name="connsiteY19" fmla="*/ 1152525 h 5387975"/>
                <a:gd name="connsiteX20" fmla="*/ 1127820 w 4619625"/>
                <a:gd name="connsiteY20" fmla="*/ 295275 h 5387975"/>
                <a:gd name="connsiteX21" fmla="*/ 496561 w 4619625"/>
                <a:gd name="connsiteY21" fmla="*/ 298252 h 5387975"/>
                <a:gd name="connsiteX22" fmla="*/ 305992 w 4619625"/>
                <a:gd name="connsiteY22" fmla="*/ 479822 h 5387975"/>
                <a:gd name="connsiteX23" fmla="*/ 300037 w 4619625"/>
                <a:gd name="connsiteY23" fmla="*/ 1542455 h 5387975"/>
                <a:gd name="connsiteX24" fmla="*/ 484651 w 4619625"/>
                <a:gd name="connsiteY24" fmla="*/ 1724025 h 5387975"/>
                <a:gd name="connsiteX25" fmla="*/ 1765034 w 4619625"/>
                <a:gd name="connsiteY25" fmla="*/ 1718072 h 5387975"/>
                <a:gd name="connsiteX26" fmla="*/ 1952625 w 4619625"/>
                <a:gd name="connsiteY26" fmla="*/ 1530549 h 5387975"/>
                <a:gd name="connsiteX27" fmla="*/ 1952625 w 4619625"/>
                <a:gd name="connsiteY27" fmla="*/ 482799 h 5387975"/>
                <a:gd name="connsiteX28" fmla="*/ 1762056 w 4619625"/>
                <a:gd name="connsiteY28" fmla="*/ 298252 h 5387975"/>
                <a:gd name="connsiteX29" fmla="*/ 1127820 w 4619625"/>
                <a:gd name="connsiteY29" fmla="*/ 295275 h 5387975"/>
                <a:gd name="connsiteX30" fmla="*/ 434693 w 4619625"/>
                <a:gd name="connsiteY30" fmla="*/ 0 h 5387975"/>
                <a:gd name="connsiteX31" fmla="*/ 1813207 w 4619625"/>
                <a:gd name="connsiteY31" fmla="*/ 0 h 5387975"/>
                <a:gd name="connsiteX32" fmla="*/ 2247900 w 4619625"/>
                <a:gd name="connsiteY32" fmla="*/ 434610 h 5387975"/>
                <a:gd name="connsiteX33" fmla="*/ 2247900 w 4619625"/>
                <a:gd name="connsiteY33" fmla="*/ 5387975 h 5387975"/>
                <a:gd name="connsiteX34" fmla="*/ 0 w 4619625"/>
                <a:gd name="connsiteY34" fmla="*/ 5387975 h 5387975"/>
                <a:gd name="connsiteX35" fmla="*/ 0 w 4619625"/>
                <a:gd name="connsiteY35" fmla="*/ 434610 h 5387975"/>
                <a:gd name="connsiteX36" fmla="*/ 434693 w 4619625"/>
                <a:gd name="connsiteY36" fmla="*/ 0 h 5387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619625" h="5387975">
                  <a:moveTo>
                    <a:pt x="1182870" y="2290808"/>
                  </a:moveTo>
                  <a:cubicBezTo>
                    <a:pt x="1177615" y="2292390"/>
                    <a:pt x="1172964" y="2295925"/>
                    <a:pt x="1169987" y="2301878"/>
                  </a:cubicBezTo>
                  <a:cubicBezTo>
                    <a:pt x="559792" y="3415237"/>
                    <a:pt x="559792" y="3415237"/>
                    <a:pt x="559792" y="3415237"/>
                  </a:cubicBezTo>
                  <a:cubicBezTo>
                    <a:pt x="550862" y="3439052"/>
                    <a:pt x="568722" y="3459890"/>
                    <a:pt x="589558" y="3453936"/>
                  </a:cubicBezTo>
                  <a:cubicBezTo>
                    <a:pt x="952698" y="3358676"/>
                    <a:pt x="952698" y="3358676"/>
                    <a:pt x="952698" y="3358676"/>
                  </a:cubicBezTo>
                  <a:cubicBezTo>
                    <a:pt x="970558" y="3349745"/>
                    <a:pt x="988417" y="3367606"/>
                    <a:pt x="985440" y="3388444"/>
                  </a:cubicBezTo>
                  <a:cubicBezTo>
                    <a:pt x="881261" y="4025500"/>
                    <a:pt x="881261" y="4025500"/>
                    <a:pt x="881261" y="4025500"/>
                  </a:cubicBezTo>
                  <a:cubicBezTo>
                    <a:pt x="875308" y="4052292"/>
                    <a:pt x="914003" y="4067176"/>
                    <a:pt x="928886" y="4040384"/>
                  </a:cubicBezTo>
                  <a:cubicBezTo>
                    <a:pt x="1539081" y="2927026"/>
                    <a:pt x="1539081" y="2927026"/>
                    <a:pt x="1539081" y="2927026"/>
                  </a:cubicBezTo>
                  <a:cubicBezTo>
                    <a:pt x="1550987" y="2903211"/>
                    <a:pt x="1533128" y="2882373"/>
                    <a:pt x="1506339" y="2888326"/>
                  </a:cubicBezTo>
                  <a:cubicBezTo>
                    <a:pt x="1149151" y="2986564"/>
                    <a:pt x="1149151" y="2986564"/>
                    <a:pt x="1149151" y="2986564"/>
                  </a:cubicBezTo>
                  <a:cubicBezTo>
                    <a:pt x="1128315" y="2992518"/>
                    <a:pt x="1110456" y="2977633"/>
                    <a:pt x="1113433" y="2956795"/>
                  </a:cubicBezTo>
                  <a:cubicBezTo>
                    <a:pt x="1217612" y="2316763"/>
                    <a:pt x="1217612" y="2316763"/>
                    <a:pt x="1217612" y="2316763"/>
                  </a:cubicBezTo>
                  <a:cubicBezTo>
                    <a:pt x="1219845" y="2298901"/>
                    <a:pt x="1198637" y="2286064"/>
                    <a:pt x="1182870" y="2290808"/>
                  </a:cubicBezTo>
                  <a:close/>
                  <a:moveTo>
                    <a:pt x="2982912" y="1152525"/>
                  </a:moveTo>
                  <a:cubicBezTo>
                    <a:pt x="4619625" y="1152525"/>
                    <a:pt x="4619625" y="1152525"/>
                    <a:pt x="4619625" y="1152525"/>
                  </a:cubicBezTo>
                  <a:cubicBezTo>
                    <a:pt x="4619625" y="1381807"/>
                    <a:pt x="4619625" y="1381807"/>
                    <a:pt x="4619625" y="1381807"/>
                  </a:cubicBezTo>
                  <a:cubicBezTo>
                    <a:pt x="4619625" y="1837392"/>
                    <a:pt x="4253597" y="2206625"/>
                    <a:pt x="3798293" y="2206625"/>
                  </a:cubicBezTo>
                  <a:cubicBezTo>
                    <a:pt x="3345965" y="2206625"/>
                    <a:pt x="2982912" y="1837392"/>
                    <a:pt x="2982912" y="1381807"/>
                  </a:cubicBezTo>
                  <a:cubicBezTo>
                    <a:pt x="2982912" y="1152525"/>
                    <a:pt x="2982912" y="1152525"/>
                    <a:pt x="2982912" y="1152525"/>
                  </a:cubicBezTo>
                  <a:close/>
                  <a:moveTo>
                    <a:pt x="1127820" y="295275"/>
                  </a:moveTo>
                  <a:cubicBezTo>
                    <a:pt x="919386" y="295275"/>
                    <a:pt x="707973" y="295275"/>
                    <a:pt x="496561" y="298252"/>
                  </a:cubicBezTo>
                  <a:cubicBezTo>
                    <a:pt x="353635" y="298252"/>
                    <a:pt x="305992" y="342900"/>
                    <a:pt x="305992" y="479822"/>
                  </a:cubicBezTo>
                  <a:cubicBezTo>
                    <a:pt x="300037" y="834033"/>
                    <a:pt x="305992" y="1188244"/>
                    <a:pt x="300037" y="1542455"/>
                  </a:cubicBezTo>
                  <a:cubicBezTo>
                    <a:pt x="300037" y="1667470"/>
                    <a:pt x="365545" y="1724025"/>
                    <a:pt x="484651" y="1724025"/>
                  </a:cubicBezTo>
                  <a:cubicBezTo>
                    <a:pt x="910453" y="1724025"/>
                    <a:pt x="1339232" y="1724025"/>
                    <a:pt x="1765034" y="1718072"/>
                  </a:cubicBezTo>
                  <a:cubicBezTo>
                    <a:pt x="1902005" y="1718072"/>
                    <a:pt x="1952625" y="1670447"/>
                    <a:pt x="1952625" y="1530549"/>
                  </a:cubicBezTo>
                  <a:cubicBezTo>
                    <a:pt x="1952625" y="1185267"/>
                    <a:pt x="1952625" y="834033"/>
                    <a:pt x="1952625" y="482799"/>
                  </a:cubicBezTo>
                  <a:cubicBezTo>
                    <a:pt x="1952625" y="345877"/>
                    <a:pt x="1902005" y="298252"/>
                    <a:pt x="1762056" y="298252"/>
                  </a:cubicBezTo>
                  <a:cubicBezTo>
                    <a:pt x="1550644" y="295275"/>
                    <a:pt x="1339232" y="295275"/>
                    <a:pt x="1127820" y="295275"/>
                  </a:cubicBezTo>
                  <a:close/>
                  <a:moveTo>
                    <a:pt x="434693" y="0"/>
                  </a:moveTo>
                  <a:cubicBezTo>
                    <a:pt x="434693" y="0"/>
                    <a:pt x="434693" y="0"/>
                    <a:pt x="1813207" y="0"/>
                  </a:cubicBezTo>
                  <a:cubicBezTo>
                    <a:pt x="2054372" y="0"/>
                    <a:pt x="2247900" y="196468"/>
                    <a:pt x="2247900" y="434610"/>
                  </a:cubicBezTo>
                  <a:cubicBezTo>
                    <a:pt x="2247900" y="434610"/>
                    <a:pt x="2247900" y="434610"/>
                    <a:pt x="2247900" y="5387975"/>
                  </a:cubicBezTo>
                  <a:cubicBezTo>
                    <a:pt x="2247900" y="5387975"/>
                    <a:pt x="2247900" y="5387975"/>
                    <a:pt x="0" y="5387975"/>
                  </a:cubicBezTo>
                  <a:cubicBezTo>
                    <a:pt x="0" y="5387975"/>
                    <a:pt x="0" y="5387975"/>
                    <a:pt x="0" y="434610"/>
                  </a:cubicBezTo>
                  <a:cubicBezTo>
                    <a:pt x="0" y="196468"/>
                    <a:pt x="193528" y="0"/>
                    <a:pt x="434693" y="0"/>
                  </a:cubicBezTo>
                  <a:close/>
                </a:path>
              </a:pathLst>
            </a:cu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8D4CA18-99EB-41EA-A81B-ADAC90BE94AB}"/>
              </a:ext>
            </a:extLst>
          </p:cNvPr>
          <p:cNvGrpSpPr/>
          <p:nvPr/>
        </p:nvGrpSpPr>
        <p:grpSpPr>
          <a:xfrm>
            <a:off x="4417046" y="3868456"/>
            <a:ext cx="7542655" cy="818041"/>
            <a:chOff x="4417046" y="4491844"/>
            <a:chExt cx="7542655" cy="81804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9BE0715-7BF2-4AD3-86F0-6BCDD2BBD6AC}"/>
                </a:ext>
              </a:extLst>
            </p:cNvPr>
            <p:cNvSpPr txBox="1"/>
            <p:nvPr/>
          </p:nvSpPr>
          <p:spPr>
            <a:xfrm>
              <a:off x="5202941" y="4540444"/>
              <a:ext cx="6756760" cy="76944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buClr>
                  <a:schemeClr val="tx2"/>
                </a:buClr>
              </a:pPr>
              <a:r>
                <a:rPr lang="el-GR" sz="1600" dirty="0">
                  <a:solidFill>
                    <a:schemeClr val="tx2"/>
                  </a:solidFill>
                </a:rPr>
                <a:t>Επιταχύνει την αδειοδότηση και υλοποίηση σε έργα ΑΠΕ </a:t>
              </a:r>
            </a:p>
            <a:p>
              <a:pPr marL="432000" lvl="1" indent="-288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Κατάταξη ενδιαφερομένων επενδύσεωνσε ειδικό κατάλογο προτεραιότητας στο ΔΕΔΔΗΕ</a:t>
              </a:r>
              <a:r>
                <a:rPr lang="el-GR" sz="1400" baseline="300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1</a:t>
              </a: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 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1CEC5C0-4FE6-4E71-B3A2-6C2A88E15E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7046" y="4492933"/>
              <a:ext cx="679798" cy="679798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2400" kern="0" dirty="0">
                <a:solidFill>
                  <a:schemeClr val="accent5"/>
                </a:solidFill>
              </a:endParaRPr>
            </a:p>
          </p:txBody>
        </p:sp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C46EB8C1-94C1-4E1F-B219-57952FA420C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82765" y="4558652"/>
              <a:ext cx="548359" cy="5483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AutoShape 3">
              <a:extLst>
                <a:ext uri="{FF2B5EF4-FFF2-40B4-BE49-F238E27FC236}">
                  <a16:creationId xmlns:a16="http://schemas.microsoft.com/office/drawing/2014/main" id="{8536D61B-2F4A-4A6A-A735-674F2A1D2C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7647" y="4512914"/>
              <a:ext cx="618595" cy="61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AutoShape 13">
              <a:extLst>
                <a:ext uri="{FF2B5EF4-FFF2-40B4-BE49-F238E27FC236}">
                  <a16:creationId xmlns:a16="http://schemas.microsoft.com/office/drawing/2014/main" id="{5228A6F5-8031-4458-9E6F-5DBA0E2683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8232" y="4491844"/>
              <a:ext cx="617426" cy="61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5">
              <a:extLst>
                <a:ext uri="{FF2B5EF4-FFF2-40B4-BE49-F238E27FC236}">
                  <a16:creationId xmlns:a16="http://schemas.microsoft.com/office/drawing/2014/main" id="{119A3CC5-C199-4D8B-A4AB-D088DAE2E8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7083" y="4676671"/>
              <a:ext cx="422156" cy="387536"/>
            </a:xfrm>
            <a:custGeom>
              <a:avLst/>
              <a:gdLst>
                <a:gd name="T0" fmla="*/ 1216 w 1575"/>
                <a:gd name="T1" fmla="*/ 1445 h 1445"/>
                <a:gd name="T2" fmla="*/ 328 w 1575"/>
                <a:gd name="T3" fmla="*/ 1315 h 1445"/>
                <a:gd name="T4" fmla="*/ 405 w 1575"/>
                <a:gd name="T5" fmla="*/ 1250 h 1445"/>
                <a:gd name="T6" fmla="*/ 1161 w 1575"/>
                <a:gd name="T7" fmla="*/ 1250 h 1445"/>
                <a:gd name="T8" fmla="*/ 1239 w 1575"/>
                <a:gd name="T9" fmla="*/ 1315 h 1445"/>
                <a:gd name="T10" fmla="*/ 266 w 1575"/>
                <a:gd name="T11" fmla="*/ 0 h 1445"/>
                <a:gd name="T12" fmla="*/ 72 w 1575"/>
                <a:gd name="T13" fmla="*/ 172 h 1445"/>
                <a:gd name="T14" fmla="*/ 260 w 1575"/>
                <a:gd name="T15" fmla="*/ 174 h 1445"/>
                <a:gd name="T16" fmla="*/ 242 w 1575"/>
                <a:gd name="T17" fmla="*/ 249 h 1445"/>
                <a:gd name="T18" fmla="*/ 38 w 1575"/>
                <a:gd name="T19" fmla="*/ 439 h 1445"/>
                <a:gd name="T20" fmla="*/ 235 w 1575"/>
                <a:gd name="T21" fmla="*/ 441 h 1445"/>
                <a:gd name="T22" fmla="*/ 217 w 1575"/>
                <a:gd name="T23" fmla="*/ 523 h 1445"/>
                <a:gd name="T24" fmla="*/ 0 w 1575"/>
                <a:gd name="T25" fmla="*/ 733 h 1445"/>
                <a:gd name="T26" fmla="*/ 208 w 1575"/>
                <a:gd name="T27" fmla="*/ 735 h 1445"/>
                <a:gd name="T28" fmla="*/ 507 w 1575"/>
                <a:gd name="T29" fmla="*/ 0 h 1445"/>
                <a:gd name="T30" fmla="*/ 320 w 1575"/>
                <a:gd name="T31" fmla="*/ 173 h 1445"/>
                <a:gd name="T32" fmla="*/ 509 w 1575"/>
                <a:gd name="T33" fmla="*/ 174 h 1445"/>
                <a:gd name="T34" fmla="*/ 494 w 1575"/>
                <a:gd name="T35" fmla="*/ 249 h 1445"/>
                <a:gd name="T36" fmla="*/ 298 w 1575"/>
                <a:gd name="T37" fmla="*/ 440 h 1445"/>
                <a:gd name="T38" fmla="*/ 495 w 1575"/>
                <a:gd name="T39" fmla="*/ 441 h 1445"/>
                <a:gd name="T40" fmla="*/ 481 w 1575"/>
                <a:gd name="T41" fmla="*/ 523 h 1445"/>
                <a:gd name="T42" fmla="*/ 273 w 1575"/>
                <a:gd name="T43" fmla="*/ 734 h 1445"/>
                <a:gd name="T44" fmla="*/ 481 w 1575"/>
                <a:gd name="T45" fmla="*/ 735 h 1445"/>
                <a:gd name="T46" fmla="*/ 748 w 1575"/>
                <a:gd name="T47" fmla="*/ 0 h 1445"/>
                <a:gd name="T48" fmla="*/ 569 w 1575"/>
                <a:gd name="T49" fmla="*/ 173 h 1445"/>
                <a:gd name="T50" fmla="*/ 757 w 1575"/>
                <a:gd name="T51" fmla="*/ 173 h 1445"/>
                <a:gd name="T52" fmla="*/ 747 w 1575"/>
                <a:gd name="T53" fmla="*/ 249 h 1445"/>
                <a:gd name="T54" fmla="*/ 558 w 1575"/>
                <a:gd name="T55" fmla="*/ 440 h 1445"/>
                <a:gd name="T56" fmla="*/ 756 w 1575"/>
                <a:gd name="T57" fmla="*/ 440 h 1445"/>
                <a:gd name="T58" fmla="*/ 745 w 1575"/>
                <a:gd name="T59" fmla="*/ 523 h 1445"/>
                <a:gd name="T60" fmla="*/ 547 w 1575"/>
                <a:gd name="T61" fmla="*/ 734 h 1445"/>
                <a:gd name="T62" fmla="*/ 754 w 1575"/>
                <a:gd name="T63" fmla="*/ 734 h 1445"/>
                <a:gd name="T64" fmla="*/ 989 w 1575"/>
                <a:gd name="T65" fmla="*/ 0 h 1445"/>
                <a:gd name="T66" fmla="*/ 817 w 1575"/>
                <a:gd name="T67" fmla="*/ 173 h 1445"/>
                <a:gd name="T68" fmla="*/ 1005 w 1575"/>
                <a:gd name="T69" fmla="*/ 173 h 1445"/>
                <a:gd name="T70" fmla="*/ 999 w 1575"/>
                <a:gd name="T71" fmla="*/ 249 h 1445"/>
                <a:gd name="T72" fmla="*/ 818 w 1575"/>
                <a:gd name="T73" fmla="*/ 440 h 1445"/>
                <a:gd name="T74" fmla="*/ 1016 w 1575"/>
                <a:gd name="T75" fmla="*/ 440 h 1445"/>
                <a:gd name="T76" fmla="*/ 1009 w 1575"/>
                <a:gd name="T77" fmla="*/ 523 h 1445"/>
                <a:gd name="T78" fmla="*/ 820 w 1575"/>
                <a:gd name="T79" fmla="*/ 734 h 1445"/>
                <a:gd name="T80" fmla="*/ 1027 w 1575"/>
                <a:gd name="T81" fmla="*/ 734 h 1445"/>
                <a:gd name="T82" fmla="*/ 1229 w 1575"/>
                <a:gd name="T83" fmla="*/ 0 h 1445"/>
                <a:gd name="T84" fmla="*/ 1065 w 1575"/>
                <a:gd name="T85" fmla="*/ 174 h 1445"/>
                <a:gd name="T86" fmla="*/ 1253 w 1575"/>
                <a:gd name="T87" fmla="*/ 173 h 1445"/>
                <a:gd name="T88" fmla="*/ 1251 w 1575"/>
                <a:gd name="T89" fmla="*/ 249 h 1445"/>
                <a:gd name="T90" fmla="*/ 1078 w 1575"/>
                <a:gd name="T91" fmla="*/ 441 h 1445"/>
                <a:gd name="T92" fmla="*/ 1276 w 1575"/>
                <a:gd name="T93" fmla="*/ 440 h 1445"/>
                <a:gd name="T94" fmla="*/ 1274 w 1575"/>
                <a:gd name="T95" fmla="*/ 523 h 1445"/>
                <a:gd name="T96" fmla="*/ 1093 w 1575"/>
                <a:gd name="T97" fmla="*/ 735 h 1445"/>
                <a:gd name="T98" fmla="*/ 1301 w 1575"/>
                <a:gd name="T99" fmla="*/ 734 h 1445"/>
                <a:gd name="T100" fmla="*/ 1470 w 1575"/>
                <a:gd name="T101" fmla="*/ 0 h 1445"/>
                <a:gd name="T102" fmla="*/ 1313 w 1575"/>
                <a:gd name="T103" fmla="*/ 174 h 1445"/>
                <a:gd name="T104" fmla="*/ 1501 w 1575"/>
                <a:gd name="T105" fmla="*/ 172 h 1445"/>
                <a:gd name="T106" fmla="*/ 1503 w 1575"/>
                <a:gd name="T107" fmla="*/ 249 h 1445"/>
                <a:gd name="T108" fmla="*/ 1339 w 1575"/>
                <a:gd name="T109" fmla="*/ 441 h 1445"/>
                <a:gd name="T110" fmla="*/ 1536 w 1575"/>
                <a:gd name="T111" fmla="*/ 439 h 1445"/>
                <a:gd name="T112" fmla="*/ 1538 w 1575"/>
                <a:gd name="T113" fmla="*/ 523 h 1445"/>
                <a:gd name="T114" fmla="*/ 1367 w 1575"/>
                <a:gd name="T115" fmla="*/ 735 h 1445"/>
                <a:gd name="T116" fmla="*/ 1574 w 1575"/>
                <a:gd name="T117" fmla="*/ 733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75" h="1445">
                  <a:moveTo>
                    <a:pt x="1239" y="1315"/>
                  </a:moveTo>
                  <a:cubicBezTo>
                    <a:pt x="1239" y="1422"/>
                    <a:pt x="1239" y="1422"/>
                    <a:pt x="1239" y="1422"/>
                  </a:cubicBezTo>
                  <a:cubicBezTo>
                    <a:pt x="1239" y="1434"/>
                    <a:pt x="1228" y="1445"/>
                    <a:pt x="1216" y="1445"/>
                  </a:cubicBezTo>
                  <a:cubicBezTo>
                    <a:pt x="351" y="1445"/>
                    <a:pt x="351" y="1445"/>
                    <a:pt x="351" y="1445"/>
                  </a:cubicBezTo>
                  <a:cubicBezTo>
                    <a:pt x="338" y="1445"/>
                    <a:pt x="328" y="1434"/>
                    <a:pt x="328" y="1422"/>
                  </a:cubicBezTo>
                  <a:cubicBezTo>
                    <a:pt x="328" y="1315"/>
                    <a:pt x="328" y="1315"/>
                    <a:pt x="328" y="1315"/>
                  </a:cubicBezTo>
                  <a:cubicBezTo>
                    <a:pt x="328" y="1303"/>
                    <a:pt x="338" y="1292"/>
                    <a:pt x="351" y="1292"/>
                  </a:cubicBezTo>
                  <a:cubicBezTo>
                    <a:pt x="405" y="1292"/>
                    <a:pt x="405" y="1292"/>
                    <a:pt x="405" y="1292"/>
                  </a:cubicBezTo>
                  <a:cubicBezTo>
                    <a:pt x="405" y="1250"/>
                    <a:pt x="405" y="1250"/>
                    <a:pt x="405" y="1250"/>
                  </a:cubicBezTo>
                  <a:cubicBezTo>
                    <a:pt x="405" y="1237"/>
                    <a:pt x="415" y="1227"/>
                    <a:pt x="428" y="1227"/>
                  </a:cubicBezTo>
                  <a:cubicBezTo>
                    <a:pt x="1138" y="1227"/>
                    <a:pt x="1138" y="1227"/>
                    <a:pt x="1138" y="1227"/>
                  </a:cubicBezTo>
                  <a:cubicBezTo>
                    <a:pt x="1151" y="1227"/>
                    <a:pt x="1161" y="1237"/>
                    <a:pt x="1161" y="1250"/>
                  </a:cubicBezTo>
                  <a:cubicBezTo>
                    <a:pt x="1161" y="1292"/>
                    <a:pt x="1161" y="1292"/>
                    <a:pt x="1161" y="1292"/>
                  </a:cubicBezTo>
                  <a:cubicBezTo>
                    <a:pt x="1216" y="1292"/>
                    <a:pt x="1216" y="1292"/>
                    <a:pt x="1216" y="1292"/>
                  </a:cubicBezTo>
                  <a:cubicBezTo>
                    <a:pt x="1228" y="1292"/>
                    <a:pt x="1239" y="1303"/>
                    <a:pt x="1239" y="1315"/>
                  </a:cubicBezTo>
                  <a:close/>
                  <a:moveTo>
                    <a:pt x="260" y="174"/>
                  </a:moveTo>
                  <a:cubicBezTo>
                    <a:pt x="276" y="11"/>
                    <a:pt x="276" y="11"/>
                    <a:pt x="276" y="11"/>
                  </a:cubicBezTo>
                  <a:cubicBezTo>
                    <a:pt x="276" y="5"/>
                    <a:pt x="272" y="0"/>
                    <a:pt x="266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8" y="0"/>
                    <a:pt x="94" y="4"/>
                    <a:pt x="93" y="9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178"/>
                    <a:pt x="76" y="183"/>
                    <a:pt x="82" y="183"/>
                  </a:cubicBezTo>
                  <a:cubicBezTo>
                    <a:pt x="251" y="183"/>
                    <a:pt x="251" y="183"/>
                    <a:pt x="251" y="183"/>
                  </a:cubicBezTo>
                  <a:cubicBezTo>
                    <a:pt x="256" y="183"/>
                    <a:pt x="260" y="179"/>
                    <a:pt x="260" y="174"/>
                  </a:cubicBezTo>
                  <a:close/>
                  <a:moveTo>
                    <a:pt x="235" y="441"/>
                  </a:moveTo>
                  <a:cubicBezTo>
                    <a:pt x="252" y="260"/>
                    <a:pt x="252" y="260"/>
                    <a:pt x="252" y="260"/>
                  </a:cubicBezTo>
                  <a:cubicBezTo>
                    <a:pt x="253" y="254"/>
                    <a:pt x="248" y="249"/>
                    <a:pt x="242" y="249"/>
                  </a:cubicBezTo>
                  <a:cubicBezTo>
                    <a:pt x="71" y="249"/>
                    <a:pt x="71" y="249"/>
                    <a:pt x="71" y="249"/>
                  </a:cubicBezTo>
                  <a:cubicBezTo>
                    <a:pt x="66" y="249"/>
                    <a:pt x="62" y="253"/>
                    <a:pt x="61" y="258"/>
                  </a:cubicBezTo>
                  <a:cubicBezTo>
                    <a:pt x="38" y="439"/>
                    <a:pt x="38" y="439"/>
                    <a:pt x="38" y="439"/>
                  </a:cubicBezTo>
                  <a:cubicBezTo>
                    <a:pt x="37" y="445"/>
                    <a:pt x="42" y="450"/>
                    <a:pt x="48" y="450"/>
                  </a:cubicBezTo>
                  <a:cubicBezTo>
                    <a:pt x="225" y="450"/>
                    <a:pt x="225" y="450"/>
                    <a:pt x="225" y="450"/>
                  </a:cubicBezTo>
                  <a:cubicBezTo>
                    <a:pt x="230" y="450"/>
                    <a:pt x="235" y="446"/>
                    <a:pt x="235" y="441"/>
                  </a:cubicBezTo>
                  <a:close/>
                  <a:moveTo>
                    <a:pt x="208" y="735"/>
                  </a:moveTo>
                  <a:cubicBezTo>
                    <a:pt x="227" y="534"/>
                    <a:pt x="227" y="534"/>
                    <a:pt x="227" y="534"/>
                  </a:cubicBezTo>
                  <a:cubicBezTo>
                    <a:pt x="227" y="528"/>
                    <a:pt x="223" y="523"/>
                    <a:pt x="217" y="523"/>
                  </a:cubicBezTo>
                  <a:cubicBezTo>
                    <a:pt x="36" y="523"/>
                    <a:pt x="36" y="523"/>
                    <a:pt x="36" y="523"/>
                  </a:cubicBezTo>
                  <a:cubicBezTo>
                    <a:pt x="31" y="523"/>
                    <a:pt x="27" y="527"/>
                    <a:pt x="26" y="532"/>
                  </a:cubicBezTo>
                  <a:cubicBezTo>
                    <a:pt x="0" y="733"/>
                    <a:pt x="0" y="733"/>
                    <a:pt x="0" y="733"/>
                  </a:cubicBezTo>
                  <a:cubicBezTo>
                    <a:pt x="0" y="739"/>
                    <a:pt x="4" y="744"/>
                    <a:pt x="10" y="744"/>
                  </a:cubicBezTo>
                  <a:cubicBezTo>
                    <a:pt x="198" y="744"/>
                    <a:pt x="198" y="744"/>
                    <a:pt x="198" y="744"/>
                  </a:cubicBezTo>
                  <a:cubicBezTo>
                    <a:pt x="203" y="744"/>
                    <a:pt x="207" y="741"/>
                    <a:pt x="208" y="735"/>
                  </a:cubicBezTo>
                  <a:close/>
                  <a:moveTo>
                    <a:pt x="509" y="174"/>
                  </a:moveTo>
                  <a:cubicBezTo>
                    <a:pt x="517" y="10"/>
                    <a:pt x="517" y="10"/>
                    <a:pt x="517" y="10"/>
                  </a:cubicBezTo>
                  <a:cubicBezTo>
                    <a:pt x="517" y="5"/>
                    <a:pt x="513" y="0"/>
                    <a:pt x="507" y="0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339" y="0"/>
                    <a:pt x="334" y="4"/>
                    <a:pt x="334" y="9"/>
                  </a:cubicBezTo>
                  <a:cubicBezTo>
                    <a:pt x="320" y="173"/>
                    <a:pt x="320" y="173"/>
                    <a:pt x="320" y="173"/>
                  </a:cubicBezTo>
                  <a:cubicBezTo>
                    <a:pt x="320" y="178"/>
                    <a:pt x="325" y="183"/>
                    <a:pt x="330" y="183"/>
                  </a:cubicBezTo>
                  <a:cubicBezTo>
                    <a:pt x="499" y="183"/>
                    <a:pt x="499" y="183"/>
                    <a:pt x="499" y="183"/>
                  </a:cubicBezTo>
                  <a:cubicBezTo>
                    <a:pt x="504" y="183"/>
                    <a:pt x="508" y="179"/>
                    <a:pt x="509" y="174"/>
                  </a:cubicBezTo>
                  <a:close/>
                  <a:moveTo>
                    <a:pt x="495" y="441"/>
                  </a:moveTo>
                  <a:cubicBezTo>
                    <a:pt x="504" y="260"/>
                    <a:pt x="504" y="260"/>
                    <a:pt x="504" y="260"/>
                  </a:cubicBezTo>
                  <a:cubicBezTo>
                    <a:pt x="505" y="254"/>
                    <a:pt x="500" y="249"/>
                    <a:pt x="494" y="249"/>
                  </a:cubicBezTo>
                  <a:cubicBezTo>
                    <a:pt x="323" y="249"/>
                    <a:pt x="323" y="249"/>
                    <a:pt x="323" y="249"/>
                  </a:cubicBezTo>
                  <a:cubicBezTo>
                    <a:pt x="318" y="249"/>
                    <a:pt x="314" y="253"/>
                    <a:pt x="313" y="258"/>
                  </a:cubicBezTo>
                  <a:cubicBezTo>
                    <a:pt x="298" y="440"/>
                    <a:pt x="298" y="440"/>
                    <a:pt x="298" y="440"/>
                  </a:cubicBezTo>
                  <a:cubicBezTo>
                    <a:pt x="298" y="445"/>
                    <a:pt x="302" y="450"/>
                    <a:pt x="308" y="450"/>
                  </a:cubicBezTo>
                  <a:cubicBezTo>
                    <a:pt x="485" y="450"/>
                    <a:pt x="485" y="450"/>
                    <a:pt x="485" y="450"/>
                  </a:cubicBezTo>
                  <a:cubicBezTo>
                    <a:pt x="491" y="450"/>
                    <a:pt x="495" y="446"/>
                    <a:pt x="495" y="441"/>
                  </a:cubicBezTo>
                  <a:close/>
                  <a:moveTo>
                    <a:pt x="481" y="735"/>
                  </a:moveTo>
                  <a:cubicBezTo>
                    <a:pt x="491" y="533"/>
                    <a:pt x="491" y="533"/>
                    <a:pt x="491" y="533"/>
                  </a:cubicBezTo>
                  <a:cubicBezTo>
                    <a:pt x="491" y="528"/>
                    <a:pt x="487" y="523"/>
                    <a:pt x="481" y="523"/>
                  </a:cubicBezTo>
                  <a:cubicBezTo>
                    <a:pt x="300" y="523"/>
                    <a:pt x="300" y="523"/>
                    <a:pt x="300" y="523"/>
                  </a:cubicBezTo>
                  <a:cubicBezTo>
                    <a:pt x="295" y="523"/>
                    <a:pt x="291" y="527"/>
                    <a:pt x="290" y="532"/>
                  </a:cubicBezTo>
                  <a:cubicBezTo>
                    <a:pt x="273" y="734"/>
                    <a:pt x="273" y="734"/>
                    <a:pt x="273" y="734"/>
                  </a:cubicBezTo>
                  <a:cubicBezTo>
                    <a:pt x="273" y="739"/>
                    <a:pt x="278" y="744"/>
                    <a:pt x="283" y="744"/>
                  </a:cubicBezTo>
                  <a:cubicBezTo>
                    <a:pt x="471" y="744"/>
                    <a:pt x="471" y="744"/>
                    <a:pt x="471" y="744"/>
                  </a:cubicBezTo>
                  <a:cubicBezTo>
                    <a:pt x="476" y="744"/>
                    <a:pt x="481" y="740"/>
                    <a:pt x="481" y="735"/>
                  </a:cubicBezTo>
                  <a:close/>
                  <a:moveTo>
                    <a:pt x="757" y="173"/>
                  </a:moveTo>
                  <a:cubicBezTo>
                    <a:pt x="758" y="10"/>
                    <a:pt x="758" y="10"/>
                    <a:pt x="758" y="10"/>
                  </a:cubicBezTo>
                  <a:cubicBezTo>
                    <a:pt x="758" y="4"/>
                    <a:pt x="753" y="0"/>
                    <a:pt x="748" y="0"/>
                  </a:cubicBezTo>
                  <a:cubicBezTo>
                    <a:pt x="585" y="0"/>
                    <a:pt x="585" y="0"/>
                    <a:pt x="585" y="0"/>
                  </a:cubicBezTo>
                  <a:cubicBezTo>
                    <a:pt x="579" y="0"/>
                    <a:pt x="575" y="4"/>
                    <a:pt x="575" y="10"/>
                  </a:cubicBezTo>
                  <a:cubicBezTo>
                    <a:pt x="569" y="173"/>
                    <a:pt x="569" y="173"/>
                    <a:pt x="569" y="173"/>
                  </a:cubicBezTo>
                  <a:cubicBezTo>
                    <a:pt x="568" y="179"/>
                    <a:pt x="573" y="183"/>
                    <a:pt x="579" y="183"/>
                  </a:cubicBezTo>
                  <a:cubicBezTo>
                    <a:pt x="747" y="183"/>
                    <a:pt x="747" y="183"/>
                    <a:pt x="747" y="183"/>
                  </a:cubicBezTo>
                  <a:cubicBezTo>
                    <a:pt x="752" y="183"/>
                    <a:pt x="757" y="179"/>
                    <a:pt x="757" y="173"/>
                  </a:cubicBezTo>
                  <a:close/>
                  <a:moveTo>
                    <a:pt x="756" y="440"/>
                  </a:moveTo>
                  <a:cubicBezTo>
                    <a:pt x="757" y="259"/>
                    <a:pt x="757" y="259"/>
                    <a:pt x="757" y="259"/>
                  </a:cubicBezTo>
                  <a:cubicBezTo>
                    <a:pt x="757" y="254"/>
                    <a:pt x="752" y="249"/>
                    <a:pt x="747" y="249"/>
                  </a:cubicBezTo>
                  <a:cubicBezTo>
                    <a:pt x="575" y="249"/>
                    <a:pt x="575" y="249"/>
                    <a:pt x="575" y="249"/>
                  </a:cubicBezTo>
                  <a:cubicBezTo>
                    <a:pt x="570" y="249"/>
                    <a:pt x="565" y="254"/>
                    <a:pt x="565" y="259"/>
                  </a:cubicBezTo>
                  <a:cubicBezTo>
                    <a:pt x="558" y="440"/>
                    <a:pt x="558" y="440"/>
                    <a:pt x="558" y="440"/>
                  </a:cubicBezTo>
                  <a:cubicBezTo>
                    <a:pt x="558" y="446"/>
                    <a:pt x="562" y="450"/>
                    <a:pt x="568" y="450"/>
                  </a:cubicBezTo>
                  <a:cubicBezTo>
                    <a:pt x="746" y="450"/>
                    <a:pt x="746" y="450"/>
                    <a:pt x="746" y="450"/>
                  </a:cubicBezTo>
                  <a:cubicBezTo>
                    <a:pt x="751" y="450"/>
                    <a:pt x="756" y="446"/>
                    <a:pt x="756" y="440"/>
                  </a:cubicBezTo>
                  <a:close/>
                  <a:moveTo>
                    <a:pt x="754" y="734"/>
                  </a:moveTo>
                  <a:cubicBezTo>
                    <a:pt x="755" y="533"/>
                    <a:pt x="755" y="533"/>
                    <a:pt x="755" y="533"/>
                  </a:cubicBezTo>
                  <a:cubicBezTo>
                    <a:pt x="755" y="527"/>
                    <a:pt x="751" y="523"/>
                    <a:pt x="745" y="523"/>
                  </a:cubicBezTo>
                  <a:cubicBezTo>
                    <a:pt x="565" y="523"/>
                    <a:pt x="565" y="523"/>
                    <a:pt x="565" y="523"/>
                  </a:cubicBezTo>
                  <a:cubicBezTo>
                    <a:pt x="559" y="523"/>
                    <a:pt x="555" y="527"/>
                    <a:pt x="555" y="532"/>
                  </a:cubicBezTo>
                  <a:cubicBezTo>
                    <a:pt x="547" y="734"/>
                    <a:pt x="547" y="734"/>
                    <a:pt x="547" y="734"/>
                  </a:cubicBezTo>
                  <a:cubicBezTo>
                    <a:pt x="546" y="740"/>
                    <a:pt x="551" y="744"/>
                    <a:pt x="557" y="744"/>
                  </a:cubicBezTo>
                  <a:cubicBezTo>
                    <a:pt x="744" y="744"/>
                    <a:pt x="744" y="744"/>
                    <a:pt x="744" y="744"/>
                  </a:cubicBezTo>
                  <a:cubicBezTo>
                    <a:pt x="750" y="744"/>
                    <a:pt x="754" y="740"/>
                    <a:pt x="754" y="734"/>
                  </a:cubicBezTo>
                  <a:close/>
                  <a:moveTo>
                    <a:pt x="1005" y="173"/>
                  </a:moveTo>
                  <a:cubicBezTo>
                    <a:pt x="999" y="10"/>
                    <a:pt x="999" y="10"/>
                    <a:pt x="999" y="10"/>
                  </a:cubicBezTo>
                  <a:cubicBezTo>
                    <a:pt x="998" y="4"/>
                    <a:pt x="994" y="0"/>
                    <a:pt x="989" y="0"/>
                  </a:cubicBezTo>
                  <a:cubicBezTo>
                    <a:pt x="826" y="0"/>
                    <a:pt x="826" y="0"/>
                    <a:pt x="826" y="0"/>
                  </a:cubicBezTo>
                  <a:cubicBezTo>
                    <a:pt x="820" y="0"/>
                    <a:pt x="816" y="4"/>
                    <a:pt x="816" y="10"/>
                  </a:cubicBezTo>
                  <a:cubicBezTo>
                    <a:pt x="817" y="173"/>
                    <a:pt x="817" y="173"/>
                    <a:pt x="817" y="173"/>
                  </a:cubicBezTo>
                  <a:cubicBezTo>
                    <a:pt x="817" y="179"/>
                    <a:pt x="821" y="183"/>
                    <a:pt x="827" y="183"/>
                  </a:cubicBezTo>
                  <a:cubicBezTo>
                    <a:pt x="995" y="183"/>
                    <a:pt x="995" y="183"/>
                    <a:pt x="995" y="183"/>
                  </a:cubicBezTo>
                  <a:cubicBezTo>
                    <a:pt x="1001" y="183"/>
                    <a:pt x="1005" y="179"/>
                    <a:pt x="1005" y="173"/>
                  </a:cubicBezTo>
                  <a:close/>
                  <a:moveTo>
                    <a:pt x="1016" y="440"/>
                  </a:moveTo>
                  <a:cubicBezTo>
                    <a:pt x="1009" y="259"/>
                    <a:pt x="1009" y="259"/>
                    <a:pt x="1009" y="259"/>
                  </a:cubicBezTo>
                  <a:cubicBezTo>
                    <a:pt x="1008" y="254"/>
                    <a:pt x="1004" y="249"/>
                    <a:pt x="999" y="249"/>
                  </a:cubicBezTo>
                  <a:cubicBezTo>
                    <a:pt x="827" y="249"/>
                    <a:pt x="827" y="249"/>
                    <a:pt x="827" y="249"/>
                  </a:cubicBezTo>
                  <a:cubicBezTo>
                    <a:pt x="822" y="249"/>
                    <a:pt x="817" y="254"/>
                    <a:pt x="817" y="259"/>
                  </a:cubicBezTo>
                  <a:cubicBezTo>
                    <a:pt x="818" y="440"/>
                    <a:pt x="818" y="440"/>
                    <a:pt x="818" y="440"/>
                  </a:cubicBezTo>
                  <a:cubicBezTo>
                    <a:pt x="818" y="446"/>
                    <a:pt x="823" y="450"/>
                    <a:pt x="828" y="450"/>
                  </a:cubicBezTo>
                  <a:cubicBezTo>
                    <a:pt x="1006" y="450"/>
                    <a:pt x="1006" y="450"/>
                    <a:pt x="1006" y="450"/>
                  </a:cubicBezTo>
                  <a:cubicBezTo>
                    <a:pt x="1011" y="450"/>
                    <a:pt x="1016" y="446"/>
                    <a:pt x="1016" y="440"/>
                  </a:cubicBezTo>
                  <a:close/>
                  <a:moveTo>
                    <a:pt x="1027" y="734"/>
                  </a:moveTo>
                  <a:cubicBezTo>
                    <a:pt x="1019" y="532"/>
                    <a:pt x="1019" y="532"/>
                    <a:pt x="1019" y="532"/>
                  </a:cubicBezTo>
                  <a:cubicBezTo>
                    <a:pt x="1019" y="527"/>
                    <a:pt x="1015" y="523"/>
                    <a:pt x="1009" y="523"/>
                  </a:cubicBezTo>
                  <a:cubicBezTo>
                    <a:pt x="829" y="523"/>
                    <a:pt x="829" y="523"/>
                    <a:pt x="829" y="523"/>
                  </a:cubicBezTo>
                  <a:cubicBezTo>
                    <a:pt x="823" y="523"/>
                    <a:pt x="819" y="527"/>
                    <a:pt x="819" y="533"/>
                  </a:cubicBezTo>
                  <a:cubicBezTo>
                    <a:pt x="820" y="734"/>
                    <a:pt x="820" y="734"/>
                    <a:pt x="820" y="734"/>
                  </a:cubicBezTo>
                  <a:cubicBezTo>
                    <a:pt x="820" y="740"/>
                    <a:pt x="824" y="744"/>
                    <a:pt x="830" y="744"/>
                  </a:cubicBezTo>
                  <a:cubicBezTo>
                    <a:pt x="1017" y="744"/>
                    <a:pt x="1017" y="744"/>
                    <a:pt x="1017" y="744"/>
                  </a:cubicBezTo>
                  <a:cubicBezTo>
                    <a:pt x="1023" y="744"/>
                    <a:pt x="1028" y="740"/>
                    <a:pt x="1027" y="734"/>
                  </a:cubicBezTo>
                  <a:close/>
                  <a:moveTo>
                    <a:pt x="1253" y="173"/>
                  </a:moveTo>
                  <a:cubicBezTo>
                    <a:pt x="1239" y="9"/>
                    <a:pt x="1239" y="9"/>
                    <a:pt x="1239" y="9"/>
                  </a:cubicBezTo>
                  <a:cubicBezTo>
                    <a:pt x="1239" y="4"/>
                    <a:pt x="1235" y="0"/>
                    <a:pt x="1229" y="0"/>
                  </a:cubicBezTo>
                  <a:cubicBezTo>
                    <a:pt x="1067" y="0"/>
                    <a:pt x="1067" y="0"/>
                    <a:pt x="1067" y="0"/>
                  </a:cubicBezTo>
                  <a:cubicBezTo>
                    <a:pt x="1061" y="0"/>
                    <a:pt x="1056" y="5"/>
                    <a:pt x="1057" y="10"/>
                  </a:cubicBezTo>
                  <a:cubicBezTo>
                    <a:pt x="1065" y="174"/>
                    <a:pt x="1065" y="174"/>
                    <a:pt x="1065" y="174"/>
                  </a:cubicBezTo>
                  <a:cubicBezTo>
                    <a:pt x="1065" y="179"/>
                    <a:pt x="1070" y="183"/>
                    <a:pt x="1075" y="183"/>
                  </a:cubicBezTo>
                  <a:cubicBezTo>
                    <a:pt x="1243" y="183"/>
                    <a:pt x="1243" y="183"/>
                    <a:pt x="1243" y="183"/>
                  </a:cubicBezTo>
                  <a:cubicBezTo>
                    <a:pt x="1249" y="183"/>
                    <a:pt x="1254" y="178"/>
                    <a:pt x="1253" y="173"/>
                  </a:cubicBezTo>
                  <a:close/>
                  <a:moveTo>
                    <a:pt x="1276" y="440"/>
                  </a:moveTo>
                  <a:cubicBezTo>
                    <a:pt x="1260" y="258"/>
                    <a:pt x="1260" y="258"/>
                    <a:pt x="1260" y="258"/>
                  </a:cubicBezTo>
                  <a:cubicBezTo>
                    <a:pt x="1260" y="253"/>
                    <a:pt x="1256" y="249"/>
                    <a:pt x="1251" y="249"/>
                  </a:cubicBezTo>
                  <a:cubicBezTo>
                    <a:pt x="1079" y="249"/>
                    <a:pt x="1079" y="249"/>
                    <a:pt x="1079" y="249"/>
                  </a:cubicBezTo>
                  <a:cubicBezTo>
                    <a:pt x="1073" y="249"/>
                    <a:pt x="1069" y="254"/>
                    <a:pt x="1069" y="260"/>
                  </a:cubicBezTo>
                  <a:cubicBezTo>
                    <a:pt x="1078" y="441"/>
                    <a:pt x="1078" y="441"/>
                    <a:pt x="1078" y="441"/>
                  </a:cubicBezTo>
                  <a:cubicBezTo>
                    <a:pt x="1079" y="446"/>
                    <a:pt x="1083" y="450"/>
                    <a:pt x="1088" y="450"/>
                  </a:cubicBezTo>
                  <a:cubicBezTo>
                    <a:pt x="1266" y="450"/>
                    <a:pt x="1266" y="450"/>
                    <a:pt x="1266" y="450"/>
                  </a:cubicBezTo>
                  <a:cubicBezTo>
                    <a:pt x="1272" y="450"/>
                    <a:pt x="1276" y="445"/>
                    <a:pt x="1276" y="440"/>
                  </a:cubicBezTo>
                  <a:close/>
                  <a:moveTo>
                    <a:pt x="1301" y="734"/>
                  </a:moveTo>
                  <a:cubicBezTo>
                    <a:pt x="1284" y="532"/>
                    <a:pt x="1284" y="532"/>
                    <a:pt x="1284" y="532"/>
                  </a:cubicBezTo>
                  <a:cubicBezTo>
                    <a:pt x="1283" y="527"/>
                    <a:pt x="1279" y="523"/>
                    <a:pt x="1274" y="523"/>
                  </a:cubicBezTo>
                  <a:cubicBezTo>
                    <a:pt x="1093" y="523"/>
                    <a:pt x="1093" y="523"/>
                    <a:pt x="1093" y="523"/>
                  </a:cubicBezTo>
                  <a:cubicBezTo>
                    <a:pt x="1087" y="523"/>
                    <a:pt x="1083" y="528"/>
                    <a:pt x="1083" y="533"/>
                  </a:cubicBezTo>
                  <a:cubicBezTo>
                    <a:pt x="1093" y="735"/>
                    <a:pt x="1093" y="735"/>
                    <a:pt x="1093" y="735"/>
                  </a:cubicBezTo>
                  <a:cubicBezTo>
                    <a:pt x="1094" y="740"/>
                    <a:pt x="1098" y="744"/>
                    <a:pt x="1103" y="744"/>
                  </a:cubicBezTo>
                  <a:cubicBezTo>
                    <a:pt x="1291" y="744"/>
                    <a:pt x="1291" y="744"/>
                    <a:pt x="1291" y="744"/>
                  </a:cubicBezTo>
                  <a:cubicBezTo>
                    <a:pt x="1297" y="744"/>
                    <a:pt x="1301" y="739"/>
                    <a:pt x="1301" y="734"/>
                  </a:cubicBezTo>
                  <a:close/>
                  <a:moveTo>
                    <a:pt x="1501" y="172"/>
                  </a:moveTo>
                  <a:cubicBezTo>
                    <a:pt x="1480" y="9"/>
                    <a:pt x="1480" y="9"/>
                    <a:pt x="1480" y="9"/>
                  </a:cubicBezTo>
                  <a:cubicBezTo>
                    <a:pt x="1480" y="4"/>
                    <a:pt x="1475" y="0"/>
                    <a:pt x="1470" y="0"/>
                  </a:cubicBezTo>
                  <a:cubicBezTo>
                    <a:pt x="1307" y="0"/>
                    <a:pt x="1307" y="0"/>
                    <a:pt x="1307" y="0"/>
                  </a:cubicBezTo>
                  <a:cubicBezTo>
                    <a:pt x="1302" y="0"/>
                    <a:pt x="1297" y="5"/>
                    <a:pt x="1298" y="11"/>
                  </a:cubicBezTo>
                  <a:cubicBezTo>
                    <a:pt x="1313" y="174"/>
                    <a:pt x="1313" y="174"/>
                    <a:pt x="1313" y="174"/>
                  </a:cubicBezTo>
                  <a:cubicBezTo>
                    <a:pt x="1314" y="179"/>
                    <a:pt x="1318" y="183"/>
                    <a:pt x="1323" y="183"/>
                  </a:cubicBezTo>
                  <a:cubicBezTo>
                    <a:pt x="1491" y="183"/>
                    <a:pt x="1491" y="183"/>
                    <a:pt x="1491" y="183"/>
                  </a:cubicBezTo>
                  <a:cubicBezTo>
                    <a:pt x="1497" y="183"/>
                    <a:pt x="1502" y="178"/>
                    <a:pt x="1501" y="172"/>
                  </a:cubicBezTo>
                  <a:close/>
                  <a:moveTo>
                    <a:pt x="1536" y="439"/>
                  </a:moveTo>
                  <a:cubicBezTo>
                    <a:pt x="1512" y="258"/>
                    <a:pt x="1512" y="258"/>
                    <a:pt x="1512" y="258"/>
                  </a:cubicBezTo>
                  <a:cubicBezTo>
                    <a:pt x="1512" y="253"/>
                    <a:pt x="1508" y="249"/>
                    <a:pt x="1503" y="249"/>
                  </a:cubicBezTo>
                  <a:cubicBezTo>
                    <a:pt x="1331" y="249"/>
                    <a:pt x="1331" y="249"/>
                    <a:pt x="1331" y="249"/>
                  </a:cubicBezTo>
                  <a:cubicBezTo>
                    <a:pt x="1325" y="249"/>
                    <a:pt x="1321" y="254"/>
                    <a:pt x="1321" y="260"/>
                  </a:cubicBezTo>
                  <a:cubicBezTo>
                    <a:pt x="1339" y="441"/>
                    <a:pt x="1339" y="441"/>
                    <a:pt x="1339" y="441"/>
                  </a:cubicBezTo>
                  <a:cubicBezTo>
                    <a:pt x="1339" y="446"/>
                    <a:pt x="1343" y="450"/>
                    <a:pt x="1349" y="450"/>
                  </a:cubicBezTo>
                  <a:cubicBezTo>
                    <a:pt x="1526" y="450"/>
                    <a:pt x="1526" y="450"/>
                    <a:pt x="1526" y="450"/>
                  </a:cubicBezTo>
                  <a:cubicBezTo>
                    <a:pt x="1532" y="450"/>
                    <a:pt x="1537" y="445"/>
                    <a:pt x="1536" y="439"/>
                  </a:cubicBezTo>
                  <a:close/>
                  <a:moveTo>
                    <a:pt x="1574" y="733"/>
                  </a:moveTo>
                  <a:cubicBezTo>
                    <a:pt x="1548" y="532"/>
                    <a:pt x="1548" y="532"/>
                    <a:pt x="1548" y="532"/>
                  </a:cubicBezTo>
                  <a:cubicBezTo>
                    <a:pt x="1547" y="527"/>
                    <a:pt x="1543" y="523"/>
                    <a:pt x="1538" y="523"/>
                  </a:cubicBezTo>
                  <a:cubicBezTo>
                    <a:pt x="1357" y="523"/>
                    <a:pt x="1357" y="523"/>
                    <a:pt x="1357" y="523"/>
                  </a:cubicBezTo>
                  <a:cubicBezTo>
                    <a:pt x="1351" y="523"/>
                    <a:pt x="1347" y="528"/>
                    <a:pt x="1347" y="534"/>
                  </a:cubicBezTo>
                  <a:cubicBezTo>
                    <a:pt x="1367" y="735"/>
                    <a:pt x="1367" y="735"/>
                    <a:pt x="1367" y="735"/>
                  </a:cubicBezTo>
                  <a:cubicBezTo>
                    <a:pt x="1367" y="741"/>
                    <a:pt x="1371" y="744"/>
                    <a:pt x="1377" y="744"/>
                  </a:cubicBezTo>
                  <a:cubicBezTo>
                    <a:pt x="1564" y="744"/>
                    <a:pt x="1564" y="744"/>
                    <a:pt x="1564" y="744"/>
                  </a:cubicBezTo>
                  <a:cubicBezTo>
                    <a:pt x="1570" y="744"/>
                    <a:pt x="1575" y="739"/>
                    <a:pt x="1574" y="733"/>
                  </a:cubicBezTo>
                  <a:close/>
                </a:path>
              </a:pathLst>
            </a:custGeom>
            <a:solidFill>
              <a:schemeClr val="tx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6">
              <a:extLst>
                <a:ext uri="{FF2B5EF4-FFF2-40B4-BE49-F238E27FC236}">
                  <a16:creationId xmlns:a16="http://schemas.microsoft.com/office/drawing/2014/main" id="{414EE01B-07D6-4258-A21E-2CEB88F46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6169" y="4642624"/>
              <a:ext cx="502124" cy="350485"/>
            </a:xfrm>
            <a:custGeom>
              <a:avLst/>
              <a:gdLst>
                <a:gd name="T0" fmla="*/ 1873 w 1874"/>
                <a:gd name="T1" fmla="*/ 1010 h 1307"/>
                <a:gd name="T2" fmla="*/ 1728 w 1874"/>
                <a:gd name="T3" fmla="*/ 19 h 1307"/>
                <a:gd name="T4" fmla="*/ 1706 w 1874"/>
                <a:gd name="T5" fmla="*/ 0 h 1307"/>
                <a:gd name="T6" fmla="*/ 168 w 1874"/>
                <a:gd name="T7" fmla="*/ 0 h 1307"/>
                <a:gd name="T8" fmla="*/ 146 w 1874"/>
                <a:gd name="T9" fmla="*/ 19 h 1307"/>
                <a:gd name="T10" fmla="*/ 1 w 1874"/>
                <a:gd name="T11" fmla="*/ 1010 h 1307"/>
                <a:gd name="T12" fmla="*/ 6 w 1874"/>
                <a:gd name="T13" fmla="*/ 1027 h 1307"/>
                <a:gd name="T14" fmla="*/ 23 w 1874"/>
                <a:gd name="T15" fmla="*/ 1035 h 1307"/>
                <a:gd name="T16" fmla="*/ 855 w 1874"/>
                <a:gd name="T17" fmla="*/ 1035 h 1307"/>
                <a:gd name="T18" fmla="*/ 855 w 1874"/>
                <a:gd name="T19" fmla="*/ 1037 h 1307"/>
                <a:gd name="T20" fmla="*/ 855 w 1874"/>
                <a:gd name="T21" fmla="*/ 1307 h 1307"/>
                <a:gd name="T22" fmla="*/ 899 w 1874"/>
                <a:gd name="T23" fmla="*/ 1307 h 1307"/>
                <a:gd name="T24" fmla="*/ 899 w 1874"/>
                <a:gd name="T25" fmla="*/ 1037 h 1307"/>
                <a:gd name="T26" fmla="*/ 899 w 1874"/>
                <a:gd name="T27" fmla="*/ 1035 h 1307"/>
                <a:gd name="T28" fmla="*/ 975 w 1874"/>
                <a:gd name="T29" fmla="*/ 1035 h 1307"/>
                <a:gd name="T30" fmla="*/ 975 w 1874"/>
                <a:gd name="T31" fmla="*/ 1037 h 1307"/>
                <a:gd name="T32" fmla="*/ 975 w 1874"/>
                <a:gd name="T33" fmla="*/ 1307 h 1307"/>
                <a:gd name="T34" fmla="*/ 1019 w 1874"/>
                <a:gd name="T35" fmla="*/ 1307 h 1307"/>
                <a:gd name="T36" fmla="*/ 1019 w 1874"/>
                <a:gd name="T37" fmla="*/ 1037 h 1307"/>
                <a:gd name="T38" fmla="*/ 1019 w 1874"/>
                <a:gd name="T39" fmla="*/ 1035 h 1307"/>
                <a:gd name="T40" fmla="*/ 1851 w 1874"/>
                <a:gd name="T41" fmla="*/ 1035 h 1307"/>
                <a:gd name="T42" fmla="*/ 1868 w 1874"/>
                <a:gd name="T43" fmla="*/ 1027 h 1307"/>
                <a:gd name="T44" fmla="*/ 1873 w 1874"/>
                <a:gd name="T45" fmla="*/ 1010 h 1307"/>
                <a:gd name="T46" fmla="*/ 48 w 1874"/>
                <a:gd name="T47" fmla="*/ 991 h 1307"/>
                <a:gd name="T48" fmla="*/ 187 w 1874"/>
                <a:gd name="T49" fmla="*/ 44 h 1307"/>
                <a:gd name="T50" fmla="*/ 1687 w 1874"/>
                <a:gd name="T51" fmla="*/ 44 h 1307"/>
                <a:gd name="T52" fmla="*/ 1826 w 1874"/>
                <a:gd name="T53" fmla="*/ 991 h 1307"/>
                <a:gd name="T54" fmla="*/ 48 w 1874"/>
                <a:gd name="T55" fmla="*/ 991 h 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74" h="1307">
                  <a:moveTo>
                    <a:pt x="1873" y="1010"/>
                  </a:moveTo>
                  <a:cubicBezTo>
                    <a:pt x="1728" y="19"/>
                    <a:pt x="1728" y="19"/>
                    <a:pt x="1728" y="19"/>
                  </a:cubicBezTo>
                  <a:cubicBezTo>
                    <a:pt x="1727" y="8"/>
                    <a:pt x="1717" y="0"/>
                    <a:pt x="1706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57" y="0"/>
                    <a:pt x="147" y="8"/>
                    <a:pt x="146" y="19"/>
                  </a:cubicBezTo>
                  <a:cubicBezTo>
                    <a:pt x="1" y="1010"/>
                    <a:pt x="1" y="1010"/>
                    <a:pt x="1" y="1010"/>
                  </a:cubicBezTo>
                  <a:cubicBezTo>
                    <a:pt x="0" y="1016"/>
                    <a:pt x="2" y="1023"/>
                    <a:pt x="6" y="1027"/>
                  </a:cubicBezTo>
                  <a:cubicBezTo>
                    <a:pt x="11" y="1032"/>
                    <a:pt x="17" y="1035"/>
                    <a:pt x="23" y="1035"/>
                  </a:cubicBezTo>
                  <a:cubicBezTo>
                    <a:pt x="855" y="1035"/>
                    <a:pt x="855" y="1035"/>
                    <a:pt x="855" y="1035"/>
                  </a:cubicBezTo>
                  <a:cubicBezTo>
                    <a:pt x="855" y="1036"/>
                    <a:pt x="855" y="1036"/>
                    <a:pt x="855" y="1037"/>
                  </a:cubicBezTo>
                  <a:cubicBezTo>
                    <a:pt x="855" y="1307"/>
                    <a:pt x="855" y="1307"/>
                    <a:pt x="855" y="1307"/>
                  </a:cubicBezTo>
                  <a:cubicBezTo>
                    <a:pt x="899" y="1307"/>
                    <a:pt x="899" y="1307"/>
                    <a:pt x="899" y="1307"/>
                  </a:cubicBezTo>
                  <a:cubicBezTo>
                    <a:pt x="899" y="1037"/>
                    <a:pt x="899" y="1037"/>
                    <a:pt x="899" y="1037"/>
                  </a:cubicBezTo>
                  <a:cubicBezTo>
                    <a:pt x="899" y="1036"/>
                    <a:pt x="899" y="1036"/>
                    <a:pt x="899" y="1035"/>
                  </a:cubicBezTo>
                  <a:cubicBezTo>
                    <a:pt x="975" y="1035"/>
                    <a:pt x="975" y="1035"/>
                    <a:pt x="975" y="1035"/>
                  </a:cubicBezTo>
                  <a:cubicBezTo>
                    <a:pt x="975" y="1036"/>
                    <a:pt x="975" y="1036"/>
                    <a:pt x="975" y="1037"/>
                  </a:cubicBezTo>
                  <a:cubicBezTo>
                    <a:pt x="975" y="1307"/>
                    <a:pt x="975" y="1307"/>
                    <a:pt x="975" y="1307"/>
                  </a:cubicBezTo>
                  <a:cubicBezTo>
                    <a:pt x="1019" y="1307"/>
                    <a:pt x="1019" y="1307"/>
                    <a:pt x="1019" y="1307"/>
                  </a:cubicBezTo>
                  <a:cubicBezTo>
                    <a:pt x="1019" y="1037"/>
                    <a:pt x="1019" y="1037"/>
                    <a:pt x="1019" y="1037"/>
                  </a:cubicBezTo>
                  <a:cubicBezTo>
                    <a:pt x="1019" y="1036"/>
                    <a:pt x="1019" y="1036"/>
                    <a:pt x="1019" y="1035"/>
                  </a:cubicBezTo>
                  <a:cubicBezTo>
                    <a:pt x="1851" y="1035"/>
                    <a:pt x="1851" y="1035"/>
                    <a:pt x="1851" y="1035"/>
                  </a:cubicBezTo>
                  <a:cubicBezTo>
                    <a:pt x="1857" y="1035"/>
                    <a:pt x="1863" y="1032"/>
                    <a:pt x="1868" y="1027"/>
                  </a:cubicBezTo>
                  <a:cubicBezTo>
                    <a:pt x="1872" y="1023"/>
                    <a:pt x="1874" y="1016"/>
                    <a:pt x="1873" y="1010"/>
                  </a:cubicBezTo>
                  <a:close/>
                  <a:moveTo>
                    <a:pt x="48" y="991"/>
                  </a:moveTo>
                  <a:cubicBezTo>
                    <a:pt x="187" y="44"/>
                    <a:pt x="187" y="44"/>
                    <a:pt x="187" y="44"/>
                  </a:cubicBezTo>
                  <a:cubicBezTo>
                    <a:pt x="1687" y="44"/>
                    <a:pt x="1687" y="44"/>
                    <a:pt x="1687" y="44"/>
                  </a:cubicBezTo>
                  <a:cubicBezTo>
                    <a:pt x="1826" y="991"/>
                    <a:pt x="1826" y="991"/>
                    <a:pt x="1826" y="991"/>
                  </a:cubicBezTo>
                  <a:lnTo>
                    <a:pt x="48" y="99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33DDFF3-1D0D-46C9-942F-C7DD902CB412}"/>
              </a:ext>
            </a:extLst>
          </p:cNvPr>
          <p:cNvGrpSpPr/>
          <p:nvPr/>
        </p:nvGrpSpPr>
        <p:grpSpPr>
          <a:xfrm>
            <a:off x="4417046" y="1276054"/>
            <a:ext cx="7452399" cy="814482"/>
            <a:chOff x="4417046" y="1662913"/>
            <a:chExt cx="7452399" cy="814482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4A59B79-2A05-4240-8863-C7AEFD28C298}"/>
                </a:ext>
              </a:extLst>
            </p:cNvPr>
            <p:cNvSpPr txBox="1"/>
            <p:nvPr/>
          </p:nvSpPr>
          <p:spPr>
            <a:xfrm>
              <a:off x="5202941" y="1707954"/>
              <a:ext cx="6666504" cy="76944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l-GR" sz="1600" dirty="0">
                  <a:solidFill>
                    <a:schemeClr val="tx2"/>
                  </a:solidFill>
                </a:rPr>
                <a:t>Αυξάνει το ποσοστό επιχορήγησης του "Εξοικονομώ-Αυτονομώ" </a:t>
              </a:r>
              <a:endParaRPr lang="en-US" sz="1600" dirty="0">
                <a:solidFill>
                  <a:schemeClr val="tx2"/>
                </a:solidFill>
              </a:endParaRPr>
            </a:p>
            <a:p>
              <a:pPr marL="378000" lvl="1" indent="-252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l-GR" sz="1400" dirty="0">
                  <a:solidFill>
                    <a:srgbClr val="646464">
                      <a:lumMod val="100000"/>
                    </a:srgbClr>
                  </a:solidFill>
                  <a:latin typeface="Trebuchet MS" panose="020B0603020202020204" pitchFamily="34" charset="0"/>
                </a:rPr>
                <a:t>Προσαύξηση 10% στο βασικό ποσοστό επιχορήγησης για Δ. Μακεδονία και Μεγαλόπολη</a:t>
              </a: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28AD4B1-817C-40F9-837C-2A169ECF4B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17046" y="1664385"/>
              <a:ext cx="679798" cy="679798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endParaRPr lang="en-US" sz="2400" kern="0" dirty="0">
                <a:solidFill>
                  <a:schemeClr val="accent5"/>
                </a:solidFill>
              </a:endParaRPr>
            </a:p>
          </p:txBody>
        </p:sp>
        <p:sp>
          <p:nvSpPr>
            <p:cNvPr id="114" name="AutoShape 3">
              <a:extLst>
                <a:ext uri="{FF2B5EF4-FFF2-40B4-BE49-F238E27FC236}">
                  <a16:creationId xmlns:a16="http://schemas.microsoft.com/office/drawing/2014/main" id="{D8ECB9B4-CD04-4E6D-8D65-914F7A49CC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447946" y="1662913"/>
              <a:ext cx="617998" cy="617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">
              <a:extLst>
                <a:ext uri="{FF2B5EF4-FFF2-40B4-BE49-F238E27FC236}">
                  <a16:creationId xmlns:a16="http://schemas.microsoft.com/office/drawing/2014/main" id="{E25E680E-2161-4555-9FA1-D1CD8A904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390" y="1776849"/>
              <a:ext cx="426514" cy="440234"/>
            </a:xfrm>
            <a:custGeom>
              <a:avLst/>
              <a:gdLst>
                <a:gd name="connsiteX0" fmla="*/ 94826 w 1135063"/>
                <a:gd name="connsiteY0" fmla="*/ 1008062 h 1171575"/>
                <a:gd name="connsiteX1" fmla="*/ 132614 w 1135063"/>
                <a:gd name="connsiteY1" fmla="*/ 1008062 h 1171575"/>
                <a:gd name="connsiteX2" fmla="*/ 163985 w 1135063"/>
                <a:gd name="connsiteY2" fmla="*/ 1008062 h 1171575"/>
                <a:gd name="connsiteX3" fmla="*/ 971078 w 1135063"/>
                <a:gd name="connsiteY3" fmla="*/ 1008062 h 1171575"/>
                <a:gd name="connsiteX4" fmla="*/ 1002449 w 1135063"/>
                <a:gd name="connsiteY4" fmla="*/ 1008062 h 1171575"/>
                <a:gd name="connsiteX5" fmla="*/ 1040237 w 1135063"/>
                <a:gd name="connsiteY5" fmla="*/ 1008062 h 1171575"/>
                <a:gd name="connsiteX6" fmla="*/ 1055922 w 1135063"/>
                <a:gd name="connsiteY6" fmla="*/ 1023840 h 1171575"/>
                <a:gd name="connsiteX7" fmla="*/ 1055922 w 1135063"/>
                <a:gd name="connsiteY7" fmla="*/ 1055395 h 1171575"/>
                <a:gd name="connsiteX8" fmla="*/ 1119378 w 1135063"/>
                <a:gd name="connsiteY8" fmla="*/ 1055395 h 1171575"/>
                <a:gd name="connsiteX9" fmla="*/ 1135063 w 1135063"/>
                <a:gd name="connsiteY9" fmla="*/ 1071172 h 1171575"/>
                <a:gd name="connsiteX10" fmla="*/ 1135063 w 1135063"/>
                <a:gd name="connsiteY10" fmla="*/ 1155798 h 1171575"/>
                <a:gd name="connsiteX11" fmla="*/ 1119378 w 1135063"/>
                <a:gd name="connsiteY11" fmla="*/ 1171575 h 1171575"/>
                <a:gd name="connsiteX12" fmla="*/ 15685 w 1135063"/>
                <a:gd name="connsiteY12" fmla="*/ 1171575 h 1171575"/>
                <a:gd name="connsiteX13" fmla="*/ 0 w 1135063"/>
                <a:gd name="connsiteY13" fmla="*/ 1155798 h 1171575"/>
                <a:gd name="connsiteX14" fmla="*/ 0 w 1135063"/>
                <a:gd name="connsiteY14" fmla="*/ 1071172 h 1171575"/>
                <a:gd name="connsiteX15" fmla="*/ 15685 w 1135063"/>
                <a:gd name="connsiteY15" fmla="*/ 1055395 h 1171575"/>
                <a:gd name="connsiteX16" fmla="*/ 79140 w 1135063"/>
                <a:gd name="connsiteY16" fmla="*/ 1055395 h 1171575"/>
                <a:gd name="connsiteX17" fmla="*/ 79140 w 1135063"/>
                <a:gd name="connsiteY17" fmla="*/ 1023840 h 1171575"/>
                <a:gd name="connsiteX18" fmla="*/ 94826 w 1135063"/>
                <a:gd name="connsiteY18" fmla="*/ 1008062 h 1171575"/>
                <a:gd name="connsiteX19" fmla="*/ 971550 w 1135063"/>
                <a:gd name="connsiteY19" fmla="*/ 434975 h 1171575"/>
                <a:gd name="connsiteX20" fmla="*/ 1003300 w 1135063"/>
                <a:gd name="connsiteY20" fmla="*/ 461963 h 1171575"/>
                <a:gd name="connsiteX21" fmla="*/ 1003300 w 1135063"/>
                <a:gd name="connsiteY21" fmla="*/ 977900 h 1171575"/>
                <a:gd name="connsiteX22" fmla="*/ 971550 w 1135063"/>
                <a:gd name="connsiteY22" fmla="*/ 977900 h 1171575"/>
                <a:gd name="connsiteX23" fmla="*/ 163513 w 1135063"/>
                <a:gd name="connsiteY23" fmla="*/ 434975 h 1171575"/>
                <a:gd name="connsiteX24" fmla="*/ 163513 w 1135063"/>
                <a:gd name="connsiteY24" fmla="*/ 977900 h 1171575"/>
                <a:gd name="connsiteX25" fmla="*/ 131763 w 1135063"/>
                <a:gd name="connsiteY25" fmla="*/ 977900 h 1171575"/>
                <a:gd name="connsiteX26" fmla="*/ 131763 w 1135063"/>
                <a:gd name="connsiteY26" fmla="*/ 461963 h 1171575"/>
                <a:gd name="connsiteX27" fmla="*/ 240529 w 1135063"/>
                <a:gd name="connsiteY27" fmla="*/ 0 h 1171575"/>
                <a:gd name="connsiteX28" fmla="*/ 329385 w 1135063"/>
                <a:gd name="connsiteY28" fmla="*/ 0 h 1171575"/>
                <a:gd name="connsiteX29" fmla="*/ 336551 w 1135063"/>
                <a:gd name="connsiteY29" fmla="*/ 7117 h 1171575"/>
                <a:gd name="connsiteX30" fmla="*/ 336551 w 1135063"/>
                <a:gd name="connsiteY30" fmla="*/ 76857 h 1171575"/>
                <a:gd name="connsiteX31" fmla="*/ 233363 w 1135063"/>
                <a:gd name="connsiteY31" fmla="*/ 165100 h 1171575"/>
                <a:gd name="connsiteX32" fmla="*/ 233363 w 1135063"/>
                <a:gd name="connsiteY32" fmla="*/ 7117 h 1171575"/>
                <a:gd name="connsiteX33" fmla="*/ 240529 w 1135063"/>
                <a:gd name="connsiteY33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35063" h="1171575">
                  <a:moveTo>
                    <a:pt x="94826" y="1008062"/>
                  </a:moveTo>
                  <a:cubicBezTo>
                    <a:pt x="94826" y="1008062"/>
                    <a:pt x="94826" y="1008062"/>
                    <a:pt x="132614" y="1008062"/>
                  </a:cubicBezTo>
                  <a:cubicBezTo>
                    <a:pt x="132614" y="1008062"/>
                    <a:pt x="132614" y="1008062"/>
                    <a:pt x="163985" y="1008062"/>
                  </a:cubicBezTo>
                  <a:cubicBezTo>
                    <a:pt x="163985" y="1008062"/>
                    <a:pt x="163985" y="1008062"/>
                    <a:pt x="971078" y="1008062"/>
                  </a:cubicBezTo>
                  <a:cubicBezTo>
                    <a:pt x="971078" y="1008062"/>
                    <a:pt x="971078" y="1008062"/>
                    <a:pt x="1002449" y="1008062"/>
                  </a:cubicBezTo>
                  <a:cubicBezTo>
                    <a:pt x="1002449" y="1008062"/>
                    <a:pt x="1002449" y="1008062"/>
                    <a:pt x="1040237" y="1008062"/>
                  </a:cubicBezTo>
                  <a:cubicBezTo>
                    <a:pt x="1049506" y="1008062"/>
                    <a:pt x="1055922" y="1015234"/>
                    <a:pt x="1055922" y="1023840"/>
                  </a:cubicBezTo>
                  <a:cubicBezTo>
                    <a:pt x="1055922" y="1023840"/>
                    <a:pt x="1055922" y="1023840"/>
                    <a:pt x="1055922" y="1055395"/>
                  </a:cubicBezTo>
                  <a:cubicBezTo>
                    <a:pt x="1055922" y="1055395"/>
                    <a:pt x="1055922" y="1055395"/>
                    <a:pt x="1119378" y="1055395"/>
                  </a:cubicBezTo>
                  <a:cubicBezTo>
                    <a:pt x="1127933" y="1055395"/>
                    <a:pt x="1135063" y="1062566"/>
                    <a:pt x="1135063" y="1071172"/>
                  </a:cubicBezTo>
                  <a:cubicBezTo>
                    <a:pt x="1135063" y="1071172"/>
                    <a:pt x="1135063" y="1071172"/>
                    <a:pt x="1135063" y="1155798"/>
                  </a:cubicBezTo>
                  <a:cubicBezTo>
                    <a:pt x="1135063" y="1164404"/>
                    <a:pt x="1127933" y="1171575"/>
                    <a:pt x="1119378" y="1171575"/>
                  </a:cubicBezTo>
                  <a:cubicBezTo>
                    <a:pt x="1119378" y="1171575"/>
                    <a:pt x="1119378" y="1171575"/>
                    <a:pt x="15685" y="1171575"/>
                  </a:cubicBezTo>
                  <a:cubicBezTo>
                    <a:pt x="7130" y="1171575"/>
                    <a:pt x="0" y="1164404"/>
                    <a:pt x="0" y="1155798"/>
                  </a:cubicBezTo>
                  <a:cubicBezTo>
                    <a:pt x="0" y="1155798"/>
                    <a:pt x="0" y="1155798"/>
                    <a:pt x="0" y="1071172"/>
                  </a:cubicBezTo>
                  <a:cubicBezTo>
                    <a:pt x="0" y="1062566"/>
                    <a:pt x="7130" y="1055395"/>
                    <a:pt x="15685" y="1055395"/>
                  </a:cubicBezTo>
                  <a:cubicBezTo>
                    <a:pt x="15685" y="1055395"/>
                    <a:pt x="15685" y="1055395"/>
                    <a:pt x="79140" y="1055395"/>
                  </a:cubicBezTo>
                  <a:cubicBezTo>
                    <a:pt x="79140" y="1055395"/>
                    <a:pt x="79140" y="1055395"/>
                    <a:pt x="79140" y="1023840"/>
                  </a:cubicBezTo>
                  <a:cubicBezTo>
                    <a:pt x="79140" y="1015234"/>
                    <a:pt x="85557" y="1008062"/>
                    <a:pt x="94826" y="1008062"/>
                  </a:cubicBezTo>
                  <a:close/>
                  <a:moveTo>
                    <a:pt x="971550" y="434975"/>
                  </a:moveTo>
                  <a:lnTo>
                    <a:pt x="1003300" y="461963"/>
                  </a:lnTo>
                  <a:lnTo>
                    <a:pt x="1003300" y="977900"/>
                  </a:lnTo>
                  <a:lnTo>
                    <a:pt x="971550" y="977900"/>
                  </a:lnTo>
                  <a:close/>
                  <a:moveTo>
                    <a:pt x="163513" y="434975"/>
                  </a:moveTo>
                  <a:lnTo>
                    <a:pt x="163513" y="977900"/>
                  </a:lnTo>
                  <a:lnTo>
                    <a:pt x="131763" y="977900"/>
                  </a:lnTo>
                  <a:lnTo>
                    <a:pt x="131763" y="461963"/>
                  </a:lnTo>
                  <a:close/>
                  <a:moveTo>
                    <a:pt x="240529" y="0"/>
                  </a:moveTo>
                  <a:cubicBezTo>
                    <a:pt x="240529" y="0"/>
                    <a:pt x="240529" y="0"/>
                    <a:pt x="329385" y="0"/>
                  </a:cubicBezTo>
                  <a:cubicBezTo>
                    <a:pt x="333685" y="0"/>
                    <a:pt x="336551" y="2847"/>
                    <a:pt x="336551" y="7117"/>
                  </a:cubicBezTo>
                  <a:lnTo>
                    <a:pt x="336551" y="76857"/>
                  </a:lnTo>
                  <a:cubicBezTo>
                    <a:pt x="336551" y="76857"/>
                    <a:pt x="336551" y="76857"/>
                    <a:pt x="233363" y="165100"/>
                  </a:cubicBezTo>
                  <a:cubicBezTo>
                    <a:pt x="233363" y="165100"/>
                    <a:pt x="233363" y="165100"/>
                    <a:pt x="233363" y="7117"/>
                  </a:cubicBezTo>
                  <a:cubicBezTo>
                    <a:pt x="233363" y="2847"/>
                    <a:pt x="236230" y="0"/>
                    <a:pt x="24052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117" name="Freeform 11">
              <a:extLst>
                <a:ext uri="{FF2B5EF4-FFF2-40B4-BE49-F238E27FC236}">
                  <a16:creationId xmlns:a16="http://schemas.microsoft.com/office/drawing/2014/main" id="{6106ABEE-280A-4E5C-91A7-28643D31E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0548" y="1747224"/>
              <a:ext cx="412197" cy="397083"/>
            </a:xfrm>
            <a:custGeom>
              <a:avLst/>
              <a:gdLst>
                <a:gd name="connsiteX0" fmla="*/ 613618 w 1096963"/>
                <a:gd name="connsiteY0" fmla="*/ 705902 h 1056740"/>
                <a:gd name="connsiteX1" fmla="*/ 775446 w 1096963"/>
                <a:gd name="connsiteY1" fmla="*/ 705902 h 1056740"/>
                <a:gd name="connsiteX2" fmla="*/ 782638 w 1096963"/>
                <a:gd name="connsiteY2" fmla="*/ 713762 h 1056740"/>
                <a:gd name="connsiteX3" fmla="*/ 782638 w 1096963"/>
                <a:gd name="connsiteY3" fmla="*/ 1048880 h 1056740"/>
                <a:gd name="connsiteX4" fmla="*/ 775446 w 1096963"/>
                <a:gd name="connsiteY4" fmla="*/ 1056740 h 1056740"/>
                <a:gd name="connsiteX5" fmla="*/ 613618 w 1096963"/>
                <a:gd name="connsiteY5" fmla="*/ 1056740 h 1056740"/>
                <a:gd name="connsiteX6" fmla="*/ 606425 w 1096963"/>
                <a:gd name="connsiteY6" fmla="*/ 1048880 h 1056740"/>
                <a:gd name="connsiteX7" fmla="*/ 606425 w 1096963"/>
                <a:gd name="connsiteY7" fmla="*/ 713762 h 1056740"/>
                <a:gd name="connsiteX8" fmla="*/ 613618 w 1096963"/>
                <a:gd name="connsiteY8" fmla="*/ 705902 h 1056740"/>
                <a:gd name="connsiteX9" fmla="*/ 323041 w 1096963"/>
                <a:gd name="connsiteY9" fmla="*/ 705902 h 1056740"/>
                <a:gd name="connsiteX10" fmla="*/ 483411 w 1096963"/>
                <a:gd name="connsiteY10" fmla="*/ 705902 h 1056740"/>
                <a:gd name="connsiteX11" fmla="*/ 490538 w 1096963"/>
                <a:gd name="connsiteY11" fmla="*/ 713065 h 1056740"/>
                <a:gd name="connsiteX12" fmla="*/ 490538 w 1096963"/>
                <a:gd name="connsiteY12" fmla="*/ 874952 h 1056740"/>
                <a:gd name="connsiteX13" fmla="*/ 483411 w 1096963"/>
                <a:gd name="connsiteY13" fmla="*/ 882115 h 1056740"/>
                <a:gd name="connsiteX14" fmla="*/ 323041 w 1096963"/>
                <a:gd name="connsiteY14" fmla="*/ 882115 h 1056740"/>
                <a:gd name="connsiteX15" fmla="*/ 315913 w 1096963"/>
                <a:gd name="connsiteY15" fmla="*/ 874952 h 1056740"/>
                <a:gd name="connsiteX16" fmla="*/ 315913 w 1096963"/>
                <a:gd name="connsiteY16" fmla="*/ 713065 h 1056740"/>
                <a:gd name="connsiteX17" fmla="*/ 323041 w 1096963"/>
                <a:gd name="connsiteY17" fmla="*/ 705902 h 1056740"/>
                <a:gd name="connsiteX18" fmla="*/ 613618 w 1096963"/>
                <a:gd name="connsiteY18" fmla="*/ 432852 h 1056740"/>
                <a:gd name="connsiteX19" fmla="*/ 775446 w 1096963"/>
                <a:gd name="connsiteY19" fmla="*/ 432852 h 1056740"/>
                <a:gd name="connsiteX20" fmla="*/ 782638 w 1096963"/>
                <a:gd name="connsiteY20" fmla="*/ 440015 h 1056740"/>
                <a:gd name="connsiteX21" fmla="*/ 782638 w 1096963"/>
                <a:gd name="connsiteY21" fmla="*/ 601902 h 1056740"/>
                <a:gd name="connsiteX22" fmla="*/ 775446 w 1096963"/>
                <a:gd name="connsiteY22" fmla="*/ 609065 h 1056740"/>
                <a:gd name="connsiteX23" fmla="*/ 613618 w 1096963"/>
                <a:gd name="connsiteY23" fmla="*/ 609065 h 1056740"/>
                <a:gd name="connsiteX24" fmla="*/ 606425 w 1096963"/>
                <a:gd name="connsiteY24" fmla="*/ 601902 h 1056740"/>
                <a:gd name="connsiteX25" fmla="*/ 606425 w 1096963"/>
                <a:gd name="connsiteY25" fmla="*/ 440015 h 1056740"/>
                <a:gd name="connsiteX26" fmla="*/ 613618 w 1096963"/>
                <a:gd name="connsiteY26" fmla="*/ 432852 h 1056740"/>
                <a:gd name="connsiteX27" fmla="*/ 323041 w 1096963"/>
                <a:gd name="connsiteY27" fmla="*/ 432852 h 1056740"/>
                <a:gd name="connsiteX28" fmla="*/ 483411 w 1096963"/>
                <a:gd name="connsiteY28" fmla="*/ 432852 h 1056740"/>
                <a:gd name="connsiteX29" fmla="*/ 490538 w 1096963"/>
                <a:gd name="connsiteY29" fmla="*/ 440015 h 1056740"/>
                <a:gd name="connsiteX30" fmla="*/ 490538 w 1096963"/>
                <a:gd name="connsiteY30" fmla="*/ 601902 h 1056740"/>
                <a:gd name="connsiteX31" fmla="*/ 483411 w 1096963"/>
                <a:gd name="connsiteY31" fmla="*/ 609065 h 1056740"/>
                <a:gd name="connsiteX32" fmla="*/ 323041 w 1096963"/>
                <a:gd name="connsiteY32" fmla="*/ 609065 h 1056740"/>
                <a:gd name="connsiteX33" fmla="*/ 315913 w 1096963"/>
                <a:gd name="connsiteY33" fmla="*/ 601902 h 1056740"/>
                <a:gd name="connsiteX34" fmla="*/ 315913 w 1096963"/>
                <a:gd name="connsiteY34" fmla="*/ 440015 h 1056740"/>
                <a:gd name="connsiteX35" fmla="*/ 323041 w 1096963"/>
                <a:gd name="connsiteY35" fmla="*/ 432852 h 1056740"/>
                <a:gd name="connsiteX36" fmla="*/ 543489 w 1096963"/>
                <a:gd name="connsiteY36" fmla="*/ 1605 h 1056740"/>
                <a:gd name="connsiteX37" fmla="*/ 553474 w 1096963"/>
                <a:gd name="connsiteY37" fmla="*/ 1605 h 1056740"/>
                <a:gd name="connsiteX38" fmla="*/ 1094823 w 1096963"/>
                <a:gd name="connsiteY38" fmla="*/ 468895 h 1056740"/>
                <a:gd name="connsiteX39" fmla="*/ 1096963 w 1096963"/>
                <a:gd name="connsiteY39" fmla="*/ 474602 h 1056740"/>
                <a:gd name="connsiteX40" fmla="*/ 1096963 w 1096963"/>
                <a:gd name="connsiteY40" fmla="*/ 582329 h 1056740"/>
                <a:gd name="connsiteX41" fmla="*/ 1085551 w 1096963"/>
                <a:gd name="connsiteY41" fmla="*/ 588036 h 1056740"/>
                <a:gd name="connsiteX42" fmla="*/ 983558 w 1096963"/>
                <a:gd name="connsiteY42" fmla="*/ 499572 h 1056740"/>
                <a:gd name="connsiteX43" fmla="*/ 956455 w 1096963"/>
                <a:gd name="connsiteY43" fmla="*/ 476743 h 1056740"/>
                <a:gd name="connsiteX44" fmla="*/ 553474 w 1096963"/>
                <a:gd name="connsiteY44" fmla="*/ 128594 h 1056740"/>
                <a:gd name="connsiteX45" fmla="*/ 543489 w 1096963"/>
                <a:gd name="connsiteY45" fmla="*/ 128594 h 1056740"/>
                <a:gd name="connsiteX46" fmla="*/ 140509 w 1096963"/>
                <a:gd name="connsiteY46" fmla="*/ 476743 h 1056740"/>
                <a:gd name="connsiteX47" fmla="*/ 113405 w 1096963"/>
                <a:gd name="connsiteY47" fmla="*/ 499572 h 1056740"/>
                <a:gd name="connsiteX48" fmla="*/ 11412 w 1096963"/>
                <a:gd name="connsiteY48" fmla="*/ 588036 h 1056740"/>
                <a:gd name="connsiteX49" fmla="*/ 0 w 1096963"/>
                <a:gd name="connsiteY49" fmla="*/ 582329 h 1056740"/>
                <a:gd name="connsiteX50" fmla="*/ 0 w 1096963"/>
                <a:gd name="connsiteY50" fmla="*/ 474602 h 1056740"/>
                <a:gd name="connsiteX51" fmla="*/ 2140 w 1096963"/>
                <a:gd name="connsiteY51" fmla="*/ 468895 h 1056740"/>
                <a:gd name="connsiteX52" fmla="*/ 214685 w 1096963"/>
                <a:gd name="connsiteY52" fmla="*/ 285546 h 1056740"/>
                <a:gd name="connsiteX53" fmla="*/ 317392 w 1096963"/>
                <a:gd name="connsiteY53" fmla="*/ 197082 h 1056740"/>
                <a:gd name="connsiteX54" fmla="*/ 543489 w 1096963"/>
                <a:gd name="connsiteY54" fmla="*/ 1605 h 1056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096963" h="1056740">
                  <a:moveTo>
                    <a:pt x="613618" y="705902"/>
                  </a:moveTo>
                  <a:cubicBezTo>
                    <a:pt x="613618" y="705902"/>
                    <a:pt x="613618" y="705902"/>
                    <a:pt x="775446" y="705902"/>
                  </a:cubicBezTo>
                  <a:cubicBezTo>
                    <a:pt x="779761" y="705902"/>
                    <a:pt x="782638" y="709475"/>
                    <a:pt x="782638" y="713762"/>
                  </a:cubicBezTo>
                  <a:cubicBezTo>
                    <a:pt x="782638" y="713762"/>
                    <a:pt x="782638" y="713762"/>
                    <a:pt x="782638" y="1048880"/>
                  </a:cubicBezTo>
                  <a:cubicBezTo>
                    <a:pt x="782638" y="1053167"/>
                    <a:pt x="779761" y="1056740"/>
                    <a:pt x="775446" y="1056740"/>
                  </a:cubicBezTo>
                  <a:cubicBezTo>
                    <a:pt x="775446" y="1056740"/>
                    <a:pt x="775446" y="1056740"/>
                    <a:pt x="613618" y="1056740"/>
                  </a:cubicBezTo>
                  <a:cubicBezTo>
                    <a:pt x="610021" y="1056740"/>
                    <a:pt x="606425" y="1053167"/>
                    <a:pt x="606425" y="1048880"/>
                  </a:cubicBezTo>
                  <a:cubicBezTo>
                    <a:pt x="606425" y="1048880"/>
                    <a:pt x="606425" y="1048880"/>
                    <a:pt x="606425" y="713762"/>
                  </a:cubicBezTo>
                  <a:cubicBezTo>
                    <a:pt x="606425" y="709475"/>
                    <a:pt x="610021" y="705902"/>
                    <a:pt x="613618" y="705902"/>
                  </a:cubicBezTo>
                  <a:close/>
                  <a:moveTo>
                    <a:pt x="323041" y="705902"/>
                  </a:moveTo>
                  <a:cubicBezTo>
                    <a:pt x="323041" y="705902"/>
                    <a:pt x="323041" y="705902"/>
                    <a:pt x="483411" y="705902"/>
                  </a:cubicBezTo>
                  <a:cubicBezTo>
                    <a:pt x="486974" y="705902"/>
                    <a:pt x="490538" y="709484"/>
                    <a:pt x="490538" y="713065"/>
                  </a:cubicBezTo>
                  <a:cubicBezTo>
                    <a:pt x="490538" y="713065"/>
                    <a:pt x="490538" y="713065"/>
                    <a:pt x="490538" y="874952"/>
                  </a:cubicBezTo>
                  <a:cubicBezTo>
                    <a:pt x="490538" y="878534"/>
                    <a:pt x="486974" y="882115"/>
                    <a:pt x="483411" y="882115"/>
                  </a:cubicBezTo>
                  <a:cubicBezTo>
                    <a:pt x="483411" y="882115"/>
                    <a:pt x="483411" y="882115"/>
                    <a:pt x="323041" y="882115"/>
                  </a:cubicBezTo>
                  <a:cubicBezTo>
                    <a:pt x="318764" y="882115"/>
                    <a:pt x="315913" y="878534"/>
                    <a:pt x="315913" y="874952"/>
                  </a:cubicBezTo>
                  <a:cubicBezTo>
                    <a:pt x="315913" y="874952"/>
                    <a:pt x="315913" y="874952"/>
                    <a:pt x="315913" y="713065"/>
                  </a:cubicBezTo>
                  <a:cubicBezTo>
                    <a:pt x="315913" y="709484"/>
                    <a:pt x="318764" y="705902"/>
                    <a:pt x="323041" y="705902"/>
                  </a:cubicBezTo>
                  <a:close/>
                  <a:moveTo>
                    <a:pt x="613618" y="432852"/>
                  </a:moveTo>
                  <a:cubicBezTo>
                    <a:pt x="613618" y="432852"/>
                    <a:pt x="613618" y="432852"/>
                    <a:pt x="775446" y="432852"/>
                  </a:cubicBezTo>
                  <a:cubicBezTo>
                    <a:pt x="779761" y="432852"/>
                    <a:pt x="782638" y="436434"/>
                    <a:pt x="782638" y="440015"/>
                  </a:cubicBezTo>
                  <a:cubicBezTo>
                    <a:pt x="782638" y="440015"/>
                    <a:pt x="782638" y="440015"/>
                    <a:pt x="782638" y="601902"/>
                  </a:cubicBezTo>
                  <a:cubicBezTo>
                    <a:pt x="782638" y="605484"/>
                    <a:pt x="779761" y="609065"/>
                    <a:pt x="775446" y="609065"/>
                  </a:cubicBezTo>
                  <a:cubicBezTo>
                    <a:pt x="775446" y="609065"/>
                    <a:pt x="775446" y="609065"/>
                    <a:pt x="613618" y="609065"/>
                  </a:cubicBezTo>
                  <a:cubicBezTo>
                    <a:pt x="610021" y="609065"/>
                    <a:pt x="606425" y="605484"/>
                    <a:pt x="606425" y="601902"/>
                  </a:cubicBezTo>
                  <a:cubicBezTo>
                    <a:pt x="606425" y="601902"/>
                    <a:pt x="606425" y="601902"/>
                    <a:pt x="606425" y="440015"/>
                  </a:cubicBezTo>
                  <a:cubicBezTo>
                    <a:pt x="606425" y="436434"/>
                    <a:pt x="610021" y="432852"/>
                    <a:pt x="613618" y="432852"/>
                  </a:cubicBezTo>
                  <a:close/>
                  <a:moveTo>
                    <a:pt x="323041" y="432852"/>
                  </a:moveTo>
                  <a:cubicBezTo>
                    <a:pt x="323041" y="432852"/>
                    <a:pt x="323041" y="432852"/>
                    <a:pt x="483411" y="432852"/>
                  </a:cubicBezTo>
                  <a:cubicBezTo>
                    <a:pt x="486974" y="432852"/>
                    <a:pt x="490538" y="436434"/>
                    <a:pt x="490538" y="440015"/>
                  </a:cubicBezTo>
                  <a:cubicBezTo>
                    <a:pt x="490538" y="440015"/>
                    <a:pt x="490538" y="440015"/>
                    <a:pt x="490538" y="601902"/>
                  </a:cubicBezTo>
                  <a:cubicBezTo>
                    <a:pt x="490538" y="605484"/>
                    <a:pt x="486974" y="609065"/>
                    <a:pt x="483411" y="609065"/>
                  </a:cubicBezTo>
                  <a:cubicBezTo>
                    <a:pt x="483411" y="609065"/>
                    <a:pt x="483411" y="609065"/>
                    <a:pt x="323041" y="609065"/>
                  </a:cubicBezTo>
                  <a:cubicBezTo>
                    <a:pt x="318764" y="609065"/>
                    <a:pt x="315913" y="605484"/>
                    <a:pt x="315913" y="601902"/>
                  </a:cubicBezTo>
                  <a:cubicBezTo>
                    <a:pt x="315913" y="601902"/>
                    <a:pt x="315913" y="601902"/>
                    <a:pt x="315913" y="440015"/>
                  </a:cubicBezTo>
                  <a:cubicBezTo>
                    <a:pt x="315913" y="436434"/>
                    <a:pt x="318764" y="432852"/>
                    <a:pt x="323041" y="432852"/>
                  </a:cubicBezTo>
                  <a:close/>
                  <a:moveTo>
                    <a:pt x="543489" y="1605"/>
                  </a:moveTo>
                  <a:cubicBezTo>
                    <a:pt x="546342" y="-535"/>
                    <a:pt x="550621" y="-535"/>
                    <a:pt x="553474" y="1605"/>
                  </a:cubicBezTo>
                  <a:cubicBezTo>
                    <a:pt x="553474" y="1605"/>
                    <a:pt x="553474" y="1605"/>
                    <a:pt x="1094823" y="468895"/>
                  </a:cubicBezTo>
                  <a:cubicBezTo>
                    <a:pt x="1096250" y="470322"/>
                    <a:pt x="1096963" y="472462"/>
                    <a:pt x="1096963" y="474602"/>
                  </a:cubicBezTo>
                  <a:cubicBezTo>
                    <a:pt x="1096963" y="474602"/>
                    <a:pt x="1096963" y="474602"/>
                    <a:pt x="1096963" y="582329"/>
                  </a:cubicBezTo>
                  <a:cubicBezTo>
                    <a:pt x="1096963" y="588749"/>
                    <a:pt x="1089831" y="591603"/>
                    <a:pt x="1085551" y="588036"/>
                  </a:cubicBezTo>
                  <a:cubicBezTo>
                    <a:pt x="1085551" y="588036"/>
                    <a:pt x="1085551" y="588036"/>
                    <a:pt x="983558" y="499572"/>
                  </a:cubicBezTo>
                  <a:cubicBezTo>
                    <a:pt x="983558" y="499572"/>
                    <a:pt x="983558" y="499572"/>
                    <a:pt x="956455" y="476743"/>
                  </a:cubicBezTo>
                  <a:cubicBezTo>
                    <a:pt x="956455" y="476743"/>
                    <a:pt x="956455" y="476743"/>
                    <a:pt x="553474" y="128594"/>
                  </a:cubicBezTo>
                  <a:cubicBezTo>
                    <a:pt x="550621" y="125740"/>
                    <a:pt x="546342" y="125740"/>
                    <a:pt x="543489" y="128594"/>
                  </a:cubicBezTo>
                  <a:cubicBezTo>
                    <a:pt x="543489" y="128594"/>
                    <a:pt x="543489" y="128594"/>
                    <a:pt x="140509" y="476743"/>
                  </a:cubicBezTo>
                  <a:cubicBezTo>
                    <a:pt x="140509" y="476743"/>
                    <a:pt x="140509" y="476743"/>
                    <a:pt x="113405" y="499572"/>
                  </a:cubicBezTo>
                  <a:cubicBezTo>
                    <a:pt x="113405" y="499572"/>
                    <a:pt x="113405" y="499572"/>
                    <a:pt x="11412" y="588036"/>
                  </a:cubicBezTo>
                  <a:cubicBezTo>
                    <a:pt x="7133" y="591603"/>
                    <a:pt x="0" y="588749"/>
                    <a:pt x="0" y="582329"/>
                  </a:cubicBezTo>
                  <a:cubicBezTo>
                    <a:pt x="0" y="582329"/>
                    <a:pt x="0" y="582329"/>
                    <a:pt x="0" y="474602"/>
                  </a:cubicBezTo>
                  <a:cubicBezTo>
                    <a:pt x="0" y="472462"/>
                    <a:pt x="713" y="470322"/>
                    <a:pt x="2140" y="468895"/>
                  </a:cubicBezTo>
                  <a:cubicBezTo>
                    <a:pt x="2140" y="468895"/>
                    <a:pt x="2140" y="468895"/>
                    <a:pt x="214685" y="285546"/>
                  </a:cubicBezTo>
                  <a:cubicBezTo>
                    <a:pt x="214685" y="285546"/>
                    <a:pt x="214685" y="285546"/>
                    <a:pt x="317392" y="197082"/>
                  </a:cubicBezTo>
                  <a:cubicBezTo>
                    <a:pt x="317392" y="197082"/>
                    <a:pt x="317392" y="197082"/>
                    <a:pt x="543489" y="1605"/>
                  </a:cubicBezTo>
                  <a:close/>
                </a:path>
              </a:pathLst>
            </a:custGeom>
            <a:solidFill>
              <a:schemeClr val="tx2">
                <a:lumMod val="10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9200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94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26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28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Freeform 18"/>
          <p:cNvSpPr>
            <a:spLocks/>
          </p:cNvSpPr>
          <p:nvPr/>
        </p:nvSpPr>
        <p:spPr bwMode="auto">
          <a:xfrm>
            <a:off x="6357496" y="2488885"/>
            <a:ext cx="1089720" cy="2158616"/>
          </a:xfrm>
          <a:custGeom>
            <a:avLst/>
            <a:gdLst>
              <a:gd name="T0" fmla="*/ 246 w 268"/>
              <a:gd name="T1" fmla="*/ 715 h 715"/>
              <a:gd name="T2" fmla="*/ 22 w 268"/>
              <a:gd name="T3" fmla="*/ 715 h 715"/>
              <a:gd name="T4" fmla="*/ 0 w 268"/>
              <a:gd name="T5" fmla="*/ 693 h 715"/>
              <a:gd name="T6" fmla="*/ 23 w 268"/>
              <a:gd name="T7" fmla="*/ 21 h 715"/>
              <a:gd name="T8" fmla="*/ 45 w 268"/>
              <a:gd name="T9" fmla="*/ 0 h 715"/>
              <a:gd name="T10" fmla="*/ 223 w 268"/>
              <a:gd name="T11" fmla="*/ 0 h 715"/>
              <a:gd name="T12" fmla="*/ 245 w 268"/>
              <a:gd name="T13" fmla="*/ 21 h 715"/>
              <a:gd name="T14" fmla="*/ 268 w 268"/>
              <a:gd name="T15" fmla="*/ 693 h 715"/>
              <a:gd name="T16" fmla="*/ 246 w 268"/>
              <a:gd name="T17" fmla="*/ 715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8" h="715">
                <a:moveTo>
                  <a:pt x="246" y="715"/>
                </a:moveTo>
                <a:cubicBezTo>
                  <a:pt x="22" y="715"/>
                  <a:pt x="22" y="715"/>
                  <a:pt x="22" y="715"/>
                </a:cubicBezTo>
                <a:cubicBezTo>
                  <a:pt x="10" y="715"/>
                  <a:pt x="0" y="705"/>
                  <a:pt x="0" y="693"/>
                </a:cubicBezTo>
                <a:cubicBezTo>
                  <a:pt x="23" y="21"/>
                  <a:pt x="23" y="21"/>
                  <a:pt x="23" y="21"/>
                </a:cubicBezTo>
                <a:cubicBezTo>
                  <a:pt x="23" y="9"/>
                  <a:pt x="33" y="0"/>
                  <a:pt x="45" y="0"/>
                </a:cubicBezTo>
                <a:cubicBezTo>
                  <a:pt x="223" y="0"/>
                  <a:pt x="223" y="0"/>
                  <a:pt x="223" y="0"/>
                </a:cubicBezTo>
                <a:cubicBezTo>
                  <a:pt x="235" y="0"/>
                  <a:pt x="245" y="9"/>
                  <a:pt x="245" y="21"/>
                </a:cubicBezTo>
                <a:cubicBezTo>
                  <a:pt x="268" y="693"/>
                  <a:pt x="268" y="693"/>
                  <a:pt x="268" y="693"/>
                </a:cubicBezTo>
                <a:cubicBezTo>
                  <a:pt x="268" y="705"/>
                  <a:pt x="258" y="715"/>
                  <a:pt x="246" y="715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146304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400" dirty="0">
                <a:solidFill>
                  <a:srgbClr val="575757"/>
                </a:solidFill>
              </a:rPr>
              <a:t>Βιομηχανία, βιοτεχνία και εμπόριο</a:t>
            </a:r>
            <a:endParaRPr lang="en-US" dirty="0">
              <a:solidFill>
                <a:srgbClr val="575757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73606" y="1081780"/>
            <a:ext cx="3440669" cy="4694440"/>
          </a:xfrm>
        </p:spPr>
        <p:txBody>
          <a:bodyPr/>
          <a:lstStyle/>
          <a:p>
            <a:r>
              <a:rPr lang="el-GR" sz="2800" dirty="0"/>
              <a:t>Το όραμα για την «επόμενη μέρα» βασίζεται σε πέντε</a:t>
            </a:r>
            <a:r>
              <a:rPr lang="el-GR" sz="2800" dirty="0">
                <a:solidFill>
                  <a:schemeClr val="accent3"/>
                </a:solidFill>
              </a:rPr>
              <a:t> βασικούς πυλώνες ανάπτυξης</a:t>
            </a:r>
            <a:r>
              <a:rPr lang="el-GR" sz="2800" dirty="0"/>
              <a:t>,</a:t>
            </a:r>
            <a:r>
              <a:rPr lang="el-GR" sz="28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 </a:t>
            </a:r>
            <a:r>
              <a:rPr lang="el-GR" sz="2800" dirty="0"/>
              <a:t>υποστηριζόμενους από</a:t>
            </a:r>
            <a:r>
              <a:rPr lang="en-US" sz="2800" dirty="0"/>
              <a:t> </a:t>
            </a:r>
            <a:r>
              <a:rPr lang="el-GR" sz="2800" dirty="0"/>
              <a:t>οριζόντιες δράσεις</a:t>
            </a:r>
            <a:endParaRPr lang="en-US" sz="2800" dirty="0"/>
          </a:p>
        </p:txBody>
      </p:sp>
      <p:sp>
        <p:nvSpPr>
          <p:cNvPr id="4" name="Freeform 15"/>
          <p:cNvSpPr>
            <a:spLocks noEditPoints="1"/>
          </p:cNvSpPr>
          <p:nvPr/>
        </p:nvSpPr>
        <p:spPr bwMode="auto">
          <a:xfrm>
            <a:off x="4181384" y="381244"/>
            <a:ext cx="7812348" cy="1954245"/>
          </a:xfrm>
          <a:custGeom>
            <a:avLst/>
            <a:gdLst>
              <a:gd name="T0" fmla="*/ 1989 w 2005"/>
              <a:gd name="T1" fmla="*/ 339 h 533"/>
              <a:gd name="T2" fmla="*/ 1009 w 2005"/>
              <a:gd name="T3" fmla="*/ 1 h 533"/>
              <a:gd name="T4" fmla="*/ 995 w 2005"/>
              <a:gd name="T5" fmla="*/ 1 h 533"/>
              <a:gd name="T6" fmla="*/ 16 w 2005"/>
              <a:gd name="T7" fmla="*/ 339 h 533"/>
              <a:gd name="T8" fmla="*/ 1 w 2005"/>
              <a:gd name="T9" fmla="*/ 364 h 533"/>
              <a:gd name="T10" fmla="*/ 23 w 2005"/>
              <a:gd name="T11" fmla="*/ 382 h 533"/>
              <a:gd name="T12" fmla="*/ 203 w 2005"/>
              <a:gd name="T13" fmla="*/ 382 h 533"/>
              <a:gd name="T14" fmla="*/ 203 w 2005"/>
              <a:gd name="T15" fmla="*/ 511 h 533"/>
              <a:gd name="T16" fmla="*/ 225 w 2005"/>
              <a:gd name="T17" fmla="*/ 533 h 533"/>
              <a:gd name="T18" fmla="*/ 1780 w 2005"/>
              <a:gd name="T19" fmla="*/ 533 h 533"/>
              <a:gd name="T20" fmla="*/ 1802 w 2005"/>
              <a:gd name="T21" fmla="*/ 511 h 533"/>
              <a:gd name="T22" fmla="*/ 1802 w 2005"/>
              <a:gd name="T23" fmla="*/ 382 h 533"/>
              <a:gd name="T24" fmla="*/ 1981 w 2005"/>
              <a:gd name="T25" fmla="*/ 382 h 533"/>
              <a:gd name="T26" fmla="*/ 2003 w 2005"/>
              <a:gd name="T27" fmla="*/ 364 h 533"/>
              <a:gd name="T28" fmla="*/ 1989 w 2005"/>
              <a:gd name="T29" fmla="*/ 339 h 533"/>
              <a:gd name="T30" fmla="*/ 1758 w 2005"/>
              <a:gd name="T31" fmla="*/ 489 h 533"/>
              <a:gd name="T32" fmla="*/ 247 w 2005"/>
              <a:gd name="T33" fmla="*/ 489 h 533"/>
              <a:gd name="T34" fmla="*/ 247 w 2005"/>
              <a:gd name="T35" fmla="*/ 382 h 533"/>
              <a:gd name="T36" fmla="*/ 1758 w 2005"/>
              <a:gd name="T37" fmla="*/ 382 h 533"/>
              <a:gd name="T38" fmla="*/ 1758 w 2005"/>
              <a:gd name="T39" fmla="*/ 489 h 533"/>
              <a:gd name="T40" fmla="*/ 154 w 2005"/>
              <a:gd name="T41" fmla="*/ 338 h 533"/>
              <a:gd name="T42" fmla="*/ 1002 w 2005"/>
              <a:gd name="T43" fmla="*/ 46 h 533"/>
              <a:gd name="T44" fmla="*/ 1850 w 2005"/>
              <a:gd name="T45" fmla="*/ 338 h 533"/>
              <a:gd name="T46" fmla="*/ 154 w 2005"/>
              <a:gd name="T47" fmla="*/ 338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05" h="533">
                <a:moveTo>
                  <a:pt x="1989" y="339"/>
                </a:moveTo>
                <a:cubicBezTo>
                  <a:pt x="1009" y="1"/>
                  <a:pt x="1009" y="1"/>
                  <a:pt x="1009" y="1"/>
                </a:cubicBezTo>
                <a:cubicBezTo>
                  <a:pt x="1005" y="0"/>
                  <a:pt x="1000" y="0"/>
                  <a:pt x="995" y="1"/>
                </a:cubicBezTo>
                <a:cubicBezTo>
                  <a:pt x="16" y="339"/>
                  <a:pt x="16" y="339"/>
                  <a:pt x="16" y="339"/>
                </a:cubicBezTo>
                <a:cubicBezTo>
                  <a:pt x="6" y="343"/>
                  <a:pt x="0" y="353"/>
                  <a:pt x="1" y="364"/>
                </a:cubicBezTo>
                <a:cubicBezTo>
                  <a:pt x="3" y="374"/>
                  <a:pt x="12" y="382"/>
                  <a:pt x="23" y="382"/>
                </a:cubicBezTo>
                <a:cubicBezTo>
                  <a:pt x="203" y="382"/>
                  <a:pt x="203" y="382"/>
                  <a:pt x="203" y="382"/>
                </a:cubicBezTo>
                <a:cubicBezTo>
                  <a:pt x="203" y="511"/>
                  <a:pt x="203" y="511"/>
                  <a:pt x="203" y="511"/>
                </a:cubicBezTo>
                <a:cubicBezTo>
                  <a:pt x="203" y="523"/>
                  <a:pt x="213" y="533"/>
                  <a:pt x="225" y="533"/>
                </a:cubicBezTo>
                <a:cubicBezTo>
                  <a:pt x="1780" y="533"/>
                  <a:pt x="1780" y="533"/>
                  <a:pt x="1780" y="533"/>
                </a:cubicBezTo>
                <a:cubicBezTo>
                  <a:pt x="1792" y="533"/>
                  <a:pt x="1802" y="523"/>
                  <a:pt x="1802" y="511"/>
                </a:cubicBezTo>
                <a:cubicBezTo>
                  <a:pt x="1802" y="382"/>
                  <a:pt x="1802" y="382"/>
                  <a:pt x="1802" y="382"/>
                </a:cubicBezTo>
                <a:cubicBezTo>
                  <a:pt x="1981" y="382"/>
                  <a:pt x="1981" y="382"/>
                  <a:pt x="1981" y="382"/>
                </a:cubicBezTo>
                <a:cubicBezTo>
                  <a:pt x="1992" y="382"/>
                  <a:pt x="2001" y="374"/>
                  <a:pt x="2003" y="364"/>
                </a:cubicBezTo>
                <a:cubicBezTo>
                  <a:pt x="2005" y="353"/>
                  <a:pt x="1999" y="343"/>
                  <a:pt x="1989" y="339"/>
                </a:cubicBezTo>
                <a:close/>
                <a:moveTo>
                  <a:pt x="1758" y="489"/>
                </a:moveTo>
                <a:cubicBezTo>
                  <a:pt x="247" y="489"/>
                  <a:pt x="247" y="489"/>
                  <a:pt x="247" y="489"/>
                </a:cubicBezTo>
                <a:cubicBezTo>
                  <a:pt x="247" y="382"/>
                  <a:pt x="247" y="382"/>
                  <a:pt x="247" y="382"/>
                </a:cubicBezTo>
                <a:cubicBezTo>
                  <a:pt x="1758" y="382"/>
                  <a:pt x="1758" y="382"/>
                  <a:pt x="1758" y="382"/>
                </a:cubicBezTo>
                <a:lnTo>
                  <a:pt x="1758" y="489"/>
                </a:lnTo>
                <a:close/>
                <a:moveTo>
                  <a:pt x="154" y="338"/>
                </a:moveTo>
                <a:cubicBezTo>
                  <a:pt x="1002" y="46"/>
                  <a:pt x="1002" y="46"/>
                  <a:pt x="1002" y="46"/>
                </a:cubicBezTo>
                <a:cubicBezTo>
                  <a:pt x="1850" y="338"/>
                  <a:pt x="1850" y="338"/>
                  <a:pt x="1850" y="338"/>
                </a:cubicBezTo>
                <a:lnTo>
                  <a:pt x="154" y="338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82296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l-GR" sz="2000" dirty="0">
                <a:solidFill>
                  <a:srgbClr val="29BA74"/>
                </a:solidFill>
              </a:rPr>
              <a:t>Το όραμα για την «επόμενη μέρα»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29BA74"/>
              </a:solidFill>
              <a:effectLst/>
              <a:uLnTx/>
              <a:uFillTx/>
            </a:endParaRPr>
          </a:p>
        </p:txBody>
      </p:sp>
      <p:sp>
        <p:nvSpPr>
          <p:cNvPr id="5" name="Freeform 16"/>
          <p:cNvSpPr>
            <a:spLocks/>
          </p:cNvSpPr>
          <p:nvPr/>
        </p:nvSpPr>
        <p:spPr bwMode="auto">
          <a:xfrm>
            <a:off x="4836594" y="5879227"/>
            <a:ext cx="6648120" cy="498079"/>
          </a:xfrm>
          <a:custGeom>
            <a:avLst/>
            <a:gdLst>
              <a:gd name="T0" fmla="*/ 1771 w 1771"/>
              <a:gd name="T1" fmla="*/ 149 h 255"/>
              <a:gd name="T2" fmla="*/ 1771 w 1771"/>
              <a:gd name="T3" fmla="*/ 214 h 255"/>
              <a:gd name="T4" fmla="*/ 1731 w 1771"/>
              <a:gd name="T5" fmla="*/ 255 h 255"/>
              <a:gd name="T6" fmla="*/ 41 w 1771"/>
              <a:gd name="T7" fmla="*/ 255 h 255"/>
              <a:gd name="T8" fmla="*/ 0 w 1771"/>
              <a:gd name="T9" fmla="*/ 214 h 255"/>
              <a:gd name="T10" fmla="*/ 0 w 1771"/>
              <a:gd name="T11" fmla="*/ 149 h 255"/>
              <a:gd name="T12" fmla="*/ 41 w 1771"/>
              <a:gd name="T13" fmla="*/ 109 h 255"/>
              <a:gd name="T14" fmla="*/ 82 w 1771"/>
              <a:gd name="T15" fmla="*/ 109 h 255"/>
              <a:gd name="T16" fmla="*/ 79 w 1771"/>
              <a:gd name="T17" fmla="*/ 98 h 255"/>
              <a:gd name="T18" fmla="*/ 79 w 1771"/>
              <a:gd name="T19" fmla="*/ 24 h 255"/>
              <a:gd name="T20" fmla="*/ 102 w 1771"/>
              <a:gd name="T21" fmla="*/ 0 h 255"/>
              <a:gd name="T22" fmla="*/ 1645 w 1771"/>
              <a:gd name="T23" fmla="*/ 0 h 255"/>
              <a:gd name="T24" fmla="*/ 1668 w 1771"/>
              <a:gd name="T25" fmla="*/ 24 h 255"/>
              <a:gd name="T26" fmla="*/ 1668 w 1771"/>
              <a:gd name="T27" fmla="*/ 98 h 255"/>
              <a:gd name="T28" fmla="*/ 1665 w 1771"/>
              <a:gd name="T29" fmla="*/ 109 h 255"/>
              <a:gd name="T30" fmla="*/ 1731 w 1771"/>
              <a:gd name="T31" fmla="*/ 109 h 255"/>
              <a:gd name="T32" fmla="*/ 1771 w 1771"/>
              <a:gd name="T33" fmla="*/ 149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71" h="255">
                <a:moveTo>
                  <a:pt x="1771" y="149"/>
                </a:moveTo>
                <a:cubicBezTo>
                  <a:pt x="1771" y="214"/>
                  <a:pt x="1771" y="214"/>
                  <a:pt x="1771" y="214"/>
                </a:cubicBezTo>
                <a:cubicBezTo>
                  <a:pt x="1771" y="237"/>
                  <a:pt x="1753" y="255"/>
                  <a:pt x="1731" y="255"/>
                </a:cubicBezTo>
                <a:cubicBezTo>
                  <a:pt x="41" y="255"/>
                  <a:pt x="41" y="255"/>
                  <a:pt x="41" y="255"/>
                </a:cubicBezTo>
                <a:cubicBezTo>
                  <a:pt x="18" y="255"/>
                  <a:pt x="0" y="237"/>
                  <a:pt x="0" y="214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27"/>
                  <a:pt x="18" y="109"/>
                  <a:pt x="41" y="109"/>
                </a:cubicBezTo>
                <a:cubicBezTo>
                  <a:pt x="82" y="109"/>
                  <a:pt x="82" y="109"/>
                  <a:pt x="82" y="109"/>
                </a:cubicBezTo>
                <a:cubicBezTo>
                  <a:pt x="80" y="106"/>
                  <a:pt x="79" y="102"/>
                  <a:pt x="79" y="98"/>
                </a:cubicBezTo>
                <a:cubicBezTo>
                  <a:pt x="79" y="24"/>
                  <a:pt x="79" y="24"/>
                  <a:pt x="79" y="24"/>
                </a:cubicBezTo>
                <a:cubicBezTo>
                  <a:pt x="79" y="11"/>
                  <a:pt x="89" y="0"/>
                  <a:pt x="102" y="0"/>
                </a:cubicBezTo>
                <a:cubicBezTo>
                  <a:pt x="1645" y="0"/>
                  <a:pt x="1645" y="0"/>
                  <a:pt x="1645" y="0"/>
                </a:cubicBezTo>
                <a:cubicBezTo>
                  <a:pt x="1657" y="0"/>
                  <a:pt x="1668" y="11"/>
                  <a:pt x="1668" y="24"/>
                </a:cubicBezTo>
                <a:cubicBezTo>
                  <a:pt x="1668" y="98"/>
                  <a:pt x="1668" y="98"/>
                  <a:pt x="1668" y="98"/>
                </a:cubicBezTo>
                <a:cubicBezTo>
                  <a:pt x="1668" y="102"/>
                  <a:pt x="1667" y="106"/>
                  <a:pt x="1665" y="109"/>
                </a:cubicBezTo>
                <a:cubicBezTo>
                  <a:pt x="1731" y="109"/>
                  <a:pt x="1731" y="109"/>
                  <a:pt x="1731" y="109"/>
                </a:cubicBezTo>
                <a:cubicBezTo>
                  <a:pt x="1753" y="109"/>
                  <a:pt x="1771" y="127"/>
                  <a:pt x="1771" y="149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kumimoji="0" lang="el-G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</a:rPr>
              <a:t>Εναλλακτικές χρήσεις γης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</a:endParaRPr>
          </a:p>
        </p:txBody>
      </p:sp>
      <p:sp>
        <p:nvSpPr>
          <p:cNvPr id="6" name="Freeform 17"/>
          <p:cNvSpPr>
            <a:spLocks/>
          </p:cNvSpPr>
          <p:nvPr/>
        </p:nvSpPr>
        <p:spPr bwMode="auto">
          <a:xfrm>
            <a:off x="5161198" y="2488885"/>
            <a:ext cx="1089720" cy="2158616"/>
          </a:xfrm>
          <a:custGeom>
            <a:avLst/>
            <a:gdLst>
              <a:gd name="T0" fmla="*/ 246 w 268"/>
              <a:gd name="T1" fmla="*/ 715 h 715"/>
              <a:gd name="T2" fmla="*/ 23 w 268"/>
              <a:gd name="T3" fmla="*/ 715 h 715"/>
              <a:gd name="T4" fmla="*/ 1 w 268"/>
              <a:gd name="T5" fmla="*/ 693 h 715"/>
              <a:gd name="T6" fmla="*/ 23 w 268"/>
              <a:gd name="T7" fmla="*/ 21 h 715"/>
              <a:gd name="T8" fmla="*/ 45 w 268"/>
              <a:gd name="T9" fmla="*/ 0 h 715"/>
              <a:gd name="T10" fmla="*/ 223 w 268"/>
              <a:gd name="T11" fmla="*/ 0 h 715"/>
              <a:gd name="T12" fmla="*/ 245 w 268"/>
              <a:gd name="T13" fmla="*/ 21 h 715"/>
              <a:gd name="T14" fmla="*/ 268 w 268"/>
              <a:gd name="T15" fmla="*/ 693 h 715"/>
              <a:gd name="T16" fmla="*/ 246 w 268"/>
              <a:gd name="T17" fmla="*/ 715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8" h="715">
                <a:moveTo>
                  <a:pt x="246" y="715"/>
                </a:moveTo>
                <a:cubicBezTo>
                  <a:pt x="23" y="715"/>
                  <a:pt x="23" y="715"/>
                  <a:pt x="23" y="715"/>
                </a:cubicBezTo>
                <a:cubicBezTo>
                  <a:pt x="10" y="715"/>
                  <a:pt x="0" y="705"/>
                  <a:pt x="1" y="693"/>
                </a:cubicBezTo>
                <a:cubicBezTo>
                  <a:pt x="23" y="21"/>
                  <a:pt x="23" y="21"/>
                  <a:pt x="23" y="21"/>
                </a:cubicBezTo>
                <a:cubicBezTo>
                  <a:pt x="23" y="9"/>
                  <a:pt x="33" y="0"/>
                  <a:pt x="45" y="0"/>
                </a:cubicBezTo>
                <a:cubicBezTo>
                  <a:pt x="223" y="0"/>
                  <a:pt x="223" y="0"/>
                  <a:pt x="223" y="0"/>
                </a:cubicBezTo>
                <a:cubicBezTo>
                  <a:pt x="235" y="0"/>
                  <a:pt x="245" y="9"/>
                  <a:pt x="245" y="21"/>
                </a:cubicBezTo>
                <a:cubicBezTo>
                  <a:pt x="268" y="693"/>
                  <a:pt x="268" y="693"/>
                  <a:pt x="268" y="693"/>
                </a:cubicBezTo>
                <a:cubicBezTo>
                  <a:pt x="268" y="705"/>
                  <a:pt x="258" y="715"/>
                  <a:pt x="246" y="715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146304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l-GR" sz="1400" dirty="0">
                <a:solidFill>
                  <a:srgbClr val="575757"/>
                </a:solidFill>
              </a:rPr>
              <a:t>Καθαρή</a:t>
            </a:r>
            <a:r>
              <a:rPr kumimoji="0" lang="el-G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</a:rPr>
              <a:t> ενέργεια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</a:endParaRPr>
          </a:p>
        </p:txBody>
      </p:sp>
      <p:sp>
        <p:nvSpPr>
          <p:cNvPr id="8" name="Freeform 19"/>
          <p:cNvSpPr>
            <a:spLocks/>
          </p:cNvSpPr>
          <p:nvPr/>
        </p:nvSpPr>
        <p:spPr bwMode="auto">
          <a:xfrm>
            <a:off x="8750088" y="2488885"/>
            <a:ext cx="1089720" cy="2158616"/>
          </a:xfrm>
          <a:custGeom>
            <a:avLst/>
            <a:gdLst>
              <a:gd name="T0" fmla="*/ 245 w 268"/>
              <a:gd name="T1" fmla="*/ 715 h 715"/>
              <a:gd name="T2" fmla="*/ 22 w 268"/>
              <a:gd name="T3" fmla="*/ 715 h 715"/>
              <a:gd name="T4" fmla="*/ 0 w 268"/>
              <a:gd name="T5" fmla="*/ 693 h 715"/>
              <a:gd name="T6" fmla="*/ 22 w 268"/>
              <a:gd name="T7" fmla="*/ 21 h 715"/>
              <a:gd name="T8" fmla="*/ 44 w 268"/>
              <a:gd name="T9" fmla="*/ 0 h 715"/>
              <a:gd name="T10" fmla="*/ 223 w 268"/>
              <a:gd name="T11" fmla="*/ 0 h 715"/>
              <a:gd name="T12" fmla="*/ 245 w 268"/>
              <a:gd name="T13" fmla="*/ 21 h 715"/>
              <a:gd name="T14" fmla="*/ 267 w 268"/>
              <a:gd name="T15" fmla="*/ 693 h 715"/>
              <a:gd name="T16" fmla="*/ 245 w 268"/>
              <a:gd name="T17" fmla="*/ 715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8" h="715">
                <a:moveTo>
                  <a:pt x="245" y="715"/>
                </a:moveTo>
                <a:cubicBezTo>
                  <a:pt x="22" y="715"/>
                  <a:pt x="22" y="715"/>
                  <a:pt x="22" y="715"/>
                </a:cubicBezTo>
                <a:cubicBezTo>
                  <a:pt x="10" y="715"/>
                  <a:pt x="0" y="705"/>
                  <a:pt x="0" y="693"/>
                </a:cubicBezTo>
                <a:cubicBezTo>
                  <a:pt x="22" y="21"/>
                  <a:pt x="22" y="21"/>
                  <a:pt x="22" y="21"/>
                </a:cubicBezTo>
                <a:cubicBezTo>
                  <a:pt x="23" y="9"/>
                  <a:pt x="33" y="0"/>
                  <a:pt x="44" y="0"/>
                </a:cubicBezTo>
                <a:cubicBezTo>
                  <a:pt x="223" y="0"/>
                  <a:pt x="223" y="0"/>
                  <a:pt x="223" y="0"/>
                </a:cubicBezTo>
                <a:cubicBezTo>
                  <a:pt x="235" y="0"/>
                  <a:pt x="244" y="9"/>
                  <a:pt x="245" y="21"/>
                </a:cubicBezTo>
                <a:cubicBezTo>
                  <a:pt x="267" y="693"/>
                  <a:pt x="267" y="693"/>
                  <a:pt x="267" y="693"/>
                </a:cubicBezTo>
                <a:cubicBezTo>
                  <a:pt x="268" y="705"/>
                  <a:pt x="258" y="715"/>
                  <a:pt x="245" y="715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146304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400" dirty="0">
                <a:solidFill>
                  <a:srgbClr val="575757"/>
                </a:solidFill>
              </a:rPr>
              <a:t>Βιώσιμος τουρισμός</a:t>
            </a:r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9" name="Freeform 20"/>
          <p:cNvSpPr>
            <a:spLocks/>
          </p:cNvSpPr>
          <p:nvPr/>
        </p:nvSpPr>
        <p:spPr bwMode="auto">
          <a:xfrm>
            <a:off x="9946388" y="2488885"/>
            <a:ext cx="1089720" cy="2158616"/>
          </a:xfrm>
          <a:custGeom>
            <a:avLst/>
            <a:gdLst>
              <a:gd name="T0" fmla="*/ 246 w 268"/>
              <a:gd name="T1" fmla="*/ 715 h 715"/>
              <a:gd name="T2" fmla="*/ 23 w 268"/>
              <a:gd name="T3" fmla="*/ 715 h 715"/>
              <a:gd name="T4" fmla="*/ 1 w 268"/>
              <a:gd name="T5" fmla="*/ 693 h 715"/>
              <a:gd name="T6" fmla="*/ 23 w 268"/>
              <a:gd name="T7" fmla="*/ 21 h 715"/>
              <a:gd name="T8" fmla="*/ 45 w 268"/>
              <a:gd name="T9" fmla="*/ 0 h 715"/>
              <a:gd name="T10" fmla="*/ 223 w 268"/>
              <a:gd name="T11" fmla="*/ 0 h 715"/>
              <a:gd name="T12" fmla="*/ 245 w 268"/>
              <a:gd name="T13" fmla="*/ 21 h 715"/>
              <a:gd name="T14" fmla="*/ 268 w 268"/>
              <a:gd name="T15" fmla="*/ 693 h 715"/>
              <a:gd name="T16" fmla="*/ 246 w 268"/>
              <a:gd name="T17" fmla="*/ 715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8" h="715">
                <a:moveTo>
                  <a:pt x="246" y="715"/>
                </a:moveTo>
                <a:cubicBezTo>
                  <a:pt x="23" y="715"/>
                  <a:pt x="23" y="715"/>
                  <a:pt x="23" y="715"/>
                </a:cubicBezTo>
                <a:cubicBezTo>
                  <a:pt x="10" y="715"/>
                  <a:pt x="0" y="705"/>
                  <a:pt x="1" y="693"/>
                </a:cubicBezTo>
                <a:cubicBezTo>
                  <a:pt x="23" y="21"/>
                  <a:pt x="23" y="21"/>
                  <a:pt x="23" y="21"/>
                </a:cubicBezTo>
                <a:cubicBezTo>
                  <a:pt x="23" y="9"/>
                  <a:pt x="33" y="0"/>
                  <a:pt x="45" y="0"/>
                </a:cubicBezTo>
                <a:cubicBezTo>
                  <a:pt x="223" y="0"/>
                  <a:pt x="223" y="0"/>
                  <a:pt x="223" y="0"/>
                </a:cubicBezTo>
                <a:cubicBezTo>
                  <a:pt x="235" y="0"/>
                  <a:pt x="245" y="9"/>
                  <a:pt x="245" y="21"/>
                </a:cubicBezTo>
                <a:cubicBezTo>
                  <a:pt x="268" y="693"/>
                  <a:pt x="268" y="693"/>
                  <a:pt x="268" y="693"/>
                </a:cubicBezTo>
                <a:cubicBezTo>
                  <a:pt x="268" y="705"/>
                  <a:pt x="258" y="715"/>
                  <a:pt x="246" y="715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146304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400" dirty="0">
                <a:solidFill>
                  <a:srgbClr val="575757"/>
                </a:solidFill>
              </a:rPr>
              <a:t>Τεχνολογία και εκπαίδευση</a:t>
            </a:r>
            <a:endParaRPr lang="en-US" sz="1400" dirty="0">
              <a:solidFill>
                <a:srgbClr val="575757"/>
              </a:solidFill>
            </a:endParaRPr>
          </a:p>
        </p:txBody>
      </p:sp>
      <p:grpSp>
        <p:nvGrpSpPr>
          <p:cNvPr id="42" name="bcgIcons_Power">
            <a:extLst>
              <a:ext uri="{FF2B5EF4-FFF2-40B4-BE49-F238E27FC236}">
                <a16:creationId xmlns:a16="http://schemas.microsoft.com/office/drawing/2014/main" id="{D59294B2-CACA-458A-B5A2-CA7F64C07C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13151" y="2954859"/>
            <a:ext cx="585815" cy="586358"/>
            <a:chOff x="1682" y="0"/>
            <a:chExt cx="4316" cy="4320"/>
          </a:xfrm>
        </p:grpSpPr>
        <p:sp>
          <p:nvSpPr>
            <p:cNvPr id="43" name="AutoShape 45">
              <a:extLst>
                <a:ext uri="{FF2B5EF4-FFF2-40B4-BE49-F238E27FC236}">
                  <a16:creationId xmlns:a16="http://schemas.microsoft.com/office/drawing/2014/main" id="{A396E5A7-EAF0-44E6-9FED-51E234B25CB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7">
              <a:extLst>
                <a:ext uri="{FF2B5EF4-FFF2-40B4-BE49-F238E27FC236}">
                  <a16:creationId xmlns:a16="http://schemas.microsoft.com/office/drawing/2014/main" id="{C3146830-4FFB-42F5-AD55-9DF282F74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6" y="424"/>
              <a:ext cx="1875" cy="348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8">
              <a:extLst>
                <a:ext uri="{FF2B5EF4-FFF2-40B4-BE49-F238E27FC236}">
                  <a16:creationId xmlns:a16="http://schemas.microsoft.com/office/drawing/2014/main" id="{BD379E9F-E93F-4458-93F5-43AD19A6C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" y="953"/>
              <a:ext cx="1390" cy="243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6609448" y="2954859"/>
            <a:ext cx="585815" cy="586358"/>
            <a:chOff x="5273799" y="2606040"/>
            <a:chExt cx="1644396" cy="1645920"/>
          </a:xfrm>
        </p:grpSpPr>
        <p:sp>
          <p:nvSpPr>
            <p:cNvPr id="47" name="AutoShape 13">
              <a:extLst>
                <a:ext uri="{FF2B5EF4-FFF2-40B4-BE49-F238E27FC236}">
                  <a16:creationId xmlns:a16="http://schemas.microsoft.com/office/drawing/2014/main" id="{A6B62B7F-B1B2-4803-95E8-2DB8A96A0D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49" name="Freeform 15">
                <a:extLst>
                  <a:ext uri="{FF2B5EF4-FFF2-40B4-BE49-F238E27FC236}">
                    <a16:creationId xmlns:a16="http://schemas.microsoft.com/office/drawing/2014/main" id="{C49F8F87-804D-4785-B3FF-71E118F98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0" name="Freeform 16">
                <a:extLst>
                  <a:ext uri="{FF2B5EF4-FFF2-40B4-BE49-F238E27FC236}">
                    <a16:creationId xmlns:a16="http://schemas.microsoft.com/office/drawing/2014/main" id="{D5D864F2-D4FC-4684-89BF-B212682AA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9001771" y="2954859"/>
            <a:ext cx="586358" cy="586358"/>
            <a:chOff x="5251219" y="2517776"/>
            <a:chExt cx="1689562" cy="1689562"/>
          </a:xfrm>
        </p:grpSpPr>
        <p:grpSp>
          <p:nvGrpSpPr>
            <p:cNvPr id="52" name="Group 51"/>
            <p:cNvGrpSpPr/>
            <p:nvPr/>
          </p:nvGrpSpPr>
          <p:grpSpPr>
            <a:xfrm>
              <a:off x="5509506" y="2583418"/>
              <a:ext cx="1172989" cy="1558278"/>
              <a:chOff x="5509506" y="2583417"/>
              <a:chExt cx="1172989" cy="1558278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5572294" y="2583417"/>
                <a:ext cx="1050268" cy="1489782"/>
                <a:chOff x="8247063" y="6208713"/>
                <a:chExt cx="584200" cy="828675"/>
              </a:xfrm>
              <a:solidFill>
                <a:schemeClr val="tx2"/>
              </a:solidFill>
            </p:grpSpPr>
            <p:sp>
              <p:nvSpPr>
                <p:cNvPr id="60" name="Freeform 249"/>
                <p:cNvSpPr>
                  <a:spLocks/>
                </p:cNvSpPr>
                <p:nvPr/>
              </p:nvSpPr>
              <p:spPr bwMode="auto">
                <a:xfrm>
                  <a:off x="8805863" y="6740526"/>
                  <a:ext cx="25400" cy="30163"/>
                </a:xfrm>
                <a:custGeom>
                  <a:avLst/>
                  <a:gdLst>
                    <a:gd name="T0" fmla="*/ 62 w 62"/>
                    <a:gd name="T1" fmla="*/ 75 h 75"/>
                    <a:gd name="T2" fmla="*/ 62 w 62"/>
                    <a:gd name="T3" fmla="*/ 0 h 75"/>
                    <a:gd name="T4" fmla="*/ 0 w 62"/>
                    <a:gd name="T5" fmla="*/ 18 h 75"/>
                    <a:gd name="T6" fmla="*/ 62 w 62"/>
                    <a:gd name="T7" fmla="*/ 7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2" h="75">
                      <a:moveTo>
                        <a:pt x="62" y="75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27" y="29"/>
                        <a:pt x="48" y="49"/>
                        <a:pt x="62" y="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1" name="Freeform 250"/>
                <p:cNvSpPr>
                  <a:spLocks/>
                </p:cNvSpPr>
                <p:nvPr/>
              </p:nvSpPr>
              <p:spPr bwMode="auto">
                <a:xfrm>
                  <a:off x="8666163" y="6764338"/>
                  <a:ext cx="107950" cy="141288"/>
                </a:xfrm>
                <a:custGeom>
                  <a:avLst/>
                  <a:gdLst>
                    <a:gd name="T0" fmla="*/ 266 w 270"/>
                    <a:gd name="T1" fmla="*/ 261 h 351"/>
                    <a:gd name="T2" fmla="*/ 225 w 270"/>
                    <a:gd name="T3" fmla="*/ 182 h 351"/>
                    <a:gd name="T4" fmla="*/ 188 w 270"/>
                    <a:gd name="T5" fmla="*/ 72 h 351"/>
                    <a:gd name="T6" fmla="*/ 212 w 270"/>
                    <a:gd name="T7" fmla="*/ 0 h 351"/>
                    <a:gd name="T8" fmla="*/ 0 w 270"/>
                    <a:gd name="T9" fmla="*/ 60 h 351"/>
                    <a:gd name="T10" fmla="*/ 0 w 270"/>
                    <a:gd name="T11" fmla="*/ 351 h 351"/>
                    <a:gd name="T12" fmla="*/ 270 w 270"/>
                    <a:gd name="T13" fmla="*/ 267 h 351"/>
                    <a:gd name="T14" fmla="*/ 266 w 270"/>
                    <a:gd name="T15" fmla="*/ 261 h 3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70" h="351">
                      <a:moveTo>
                        <a:pt x="266" y="261"/>
                      </a:moveTo>
                      <a:cubicBezTo>
                        <a:pt x="261" y="252"/>
                        <a:pt x="242" y="218"/>
                        <a:pt x="225" y="182"/>
                      </a:cubicBezTo>
                      <a:cubicBezTo>
                        <a:pt x="192" y="115"/>
                        <a:pt x="188" y="88"/>
                        <a:pt x="188" y="72"/>
                      </a:cubicBezTo>
                      <a:cubicBezTo>
                        <a:pt x="188" y="45"/>
                        <a:pt x="197" y="20"/>
                        <a:pt x="212" y="0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351"/>
                        <a:pt x="0" y="351"/>
                        <a:pt x="0" y="351"/>
                      </a:cubicBezTo>
                      <a:cubicBezTo>
                        <a:pt x="270" y="267"/>
                        <a:pt x="270" y="267"/>
                        <a:pt x="270" y="267"/>
                      </a:cubicBezTo>
                      <a:cubicBezTo>
                        <a:pt x="269" y="265"/>
                        <a:pt x="268" y="263"/>
                        <a:pt x="266" y="26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2" name="Freeform 251"/>
                <p:cNvSpPr>
                  <a:spLocks/>
                </p:cNvSpPr>
                <p:nvPr/>
              </p:nvSpPr>
              <p:spPr bwMode="auto">
                <a:xfrm>
                  <a:off x="8810625" y="6816726"/>
                  <a:ext cx="20637" cy="44450"/>
                </a:xfrm>
                <a:custGeom>
                  <a:avLst/>
                  <a:gdLst>
                    <a:gd name="T0" fmla="*/ 0 w 53"/>
                    <a:gd name="T1" fmla="*/ 111 h 111"/>
                    <a:gd name="T2" fmla="*/ 53 w 53"/>
                    <a:gd name="T3" fmla="*/ 94 h 111"/>
                    <a:gd name="T4" fmla="*/ 53 w 53"/>
                    <a:gd name="T5" fmla="*/ 0 h 111"/>
                    <a:gd name="T6" fmla="*/ 29 w 53"/>
                    <a:gd name="T7" fmla="*/ 53 h 111"/>
                    <a:gd name="T8" fmla="*/ 0 w 53"/>
                    <a:gd name="T9" fmla="*/ 111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111">
                      <a:moveTo>
                        <a:pt x="0" y="111"/>
                      </a:moveTo>
                      <a:cubicBezTo>
                        <a:pt x="53" y="94"/>
                        <a:pt x="53" y="94"/>
                        <a:pt x="53" y="94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47" y="14"/>
                        <a:pt x="40" y="32"/>
                        <a:pt x="29" y="53"/>
                      </a:cubicBezTo>
                      <a:cubicBezTo>
                        <a:pt x="19" y="75"/>
                        <a:pt x="8" y="96"/>
                        <a:pt x="0" y="1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3" name="Freeform 252"/>
                <p:cNvSpPr>
                  <a:spLocks/>
                </p:cNvSpPr>
                <p:nvPr/>
              </p:nvSpPr>
              <p:spPr bwMode="auto">
                <a:xfrm>
                  <a:off x="8247063" y="6902451"/>
                  <a:ext cx="187325" cy="130175"/>
                </a:xfrm>
                <a:custGeom>
                  <a:avLst/>
                  <a:gdLst>
                    <a:gd name="T0" fmla="*/ 384 w 466"/>
                    <a:gd name="T1" fmla="*/ 186 h 324"/>
                    <a:gd name="T2" fmla="*/ 343 w 466"/>
                    <a:gd name="T3" fmla="*/ 210 h 324"/>
                    <a:gd name="T4" fmla="*/ 303 w 466"/>
                    <a:gd name="T5" fmla="*/ 186 h 324"/>
                    <a:gd name="T6" fmla="*/ 235 w 466"/>
                    <a:gd name="T7" fmla="*/ 58 h 324"/>
                    <a:gd name="T8" fmla="*/ 208 w 466"/>
                    <a:gd name="T9" fmla="*/ 0 h 324"/>
                    <a:gd name="T10" fmla="*/ 0 w 466"/>
                    <a:gd name="T11" fmla="*/ 59 h 324"/>
                    <a:gd name="T12" fmla="*/ 0 w 466"/>
                    <a:gd name="T13" fmla="*/ 324 h 324"/>
                    <a:gd name="T14" fmla="*/ 466 w 466"/>
                    <a:gd name="T15" fmla="*/ 176 h 324"/>
                    <a:gd name="T16" fmla="*/ 466 w 466"/>
                    <a:gd name="T17" fmla="*/ 27 h 324"/>
                    <a:gd name="T18" fmla="*/ 452 w 466"/>
                    <a:gd name="T19" fmla="*/ 58 h 324"/>
                    <a:gd name="T20" fmla="*/ 384 w 466"/>
                    <a:gd name="T21" fmla="*/ 186 h 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66" h="324">
                      <a:moveTo>
                        <a:pt x="384" y="186"/>
                      </a:moveTo>
                      <a:cubicBezTo>
                        <a:pt x="376" y="201"/>
                        <a:pt x="360" y="210"/>
                        <a:pt x="343" y="210"/>
                      </a:cubicBezTo>
                      <a:cubicBezTo>
                        <a:pt x="327" y="210"/>
                        <a:pt x="311" y="201"/>
                        <a:pt x="303" y="186"/>
                      </a:cubicBezTo>
                      <a:cubicBezTo>
                        <a:pt x="294" y="171"/>
                        <a:pt x="263" y="116"/>
                        <a:pt x="235" y="58"/>
                      </a:cubicBezTo>
                      <a:cubicBezTo>
                        <a:pt x="224" y="36"/>
                        <a:pt x="215" y="17"/>
                        <a:pt x="208" y="0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324"/>
                        <a:pt x="0" y="324"/>
                        <a:pt x="0" y="324"/>
                      </a:cubicBezTo>
                      <a:cubicBezTo>
                        <a:pt x="466" y="176"/>
                        <a:pt x="466" y="176"/>
                        <a:pt x="466" y="176"/>
                      </a:cubicBezTo>
                      <a:cubicBezTo>
                        <a:pt x="466" y="27"/>
                        <a:pt x="466" y="27"/>
                        <a:pt x="466" y="27"/>
                      </a:cubicBezTo>
                      <a:cubicBezTo>
                        <a:pt x="462" y="36"/>
                        <a:pt x="457" y="47"/>
                        <a:pt x="452" y="58"/>
                      </a:cubicBezTo>
                      <a:cubicBezTo>
                        <a:pt x="423" y="116"/>
                        <a:pt x="393" y="171"/>
                        <a:pt x="384" y="1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4" name="Freeform 253"/>
                <p:cNvSpPr>
                  <a:spLocks/>
                </p:cNvSpPr>
                <p:nvPr/>
              </p:nvSpPr>
              <p:spPr bwMode="auto">
                <a:xfrm>
                  <a:off x="8385175" y="6208713"/>
                  <a:ext cx="311150" cy="238125"/>
                </a:xfrm>
                <a:custGeom>
                  <a:avLst/>
                  <a:gdLst>
                    <a:gd name="T0" fmla="*/ 16 w 775"/>
                    <a:gd name="T1" fmla="*/ 535 h 591"/>
                    <a:gd name="T2" fmla="*/ 55 w 775"/>
                    <a:gd name="T3" fmla="*/ 583 h 591"/>
                    <a:gd name="T4" fmla="*/ 80 w 775"/>
                    <a:gd name="T5" fmla="*/ 586 h 591"/>
                    <a:gd name="T6" fmla="*/ 175 w 775"/>
                    <a:gd name="T7" fmla="*/ 317 h 591"/>
                    <a:gd name="T8" fmla="*/ 684 w 775"/>
                    <a:gd name="T9" fmla="*/ 299 h 591"/>
                    <a:gd name="T10" fmla="*/ 688 w 775"/>
                    <a:gd name="T11" fmla="*/ 591 h 591"/>
                    <a:gd name="T12" fmla="*/ 716 w 775"/>
                    <a:gd name="T13" fmla="*/ 591 h 591"/>
                    <a:gd name="T14" fmla="*/ 760 w 775"/>
                    <a:gd name="T15" fmla="*/ 529 h 591"/>
                    <a:gd name="T16" fmla="*/ 760 w 775"/>
                    <a:gd name="T17" fmla="*/ 530 h 591"/>
                    <a:gd name="T18" fmla="*/ 774 w 775"/>
                    <a:gd name="T19" fmla="*/ 396 h 591"/>
                    <a:gd name="T20" fmla="*/ 387 w 775"/>
                    <a:gd name="T21" fmla="*/ 0 h 591"/>
                    <a:gd name="T22" fmla="*/ 1 w 775"/>
                    <a:gd name="T23" fmla="*/ 396 h 591"/>
                    <a:gd name="T24" fmla="*/ 16 w 775"/>
                    <a:gd name="T25" fmla="*/ 534 h 591"/>
                    <a:gd name="T26" fmla="*/ 16 w 775"/>
                    <a:gd name="T27" fmla="*/ 535 h 5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75" h="591">
                      <a:moveTo>
                        <a:pt x="16" y="535"/>
                      </a:moveTo>
                      <a:cubicBezTo>
                        <a:pt x="55" y="569"/>
                        <a:pt x="55" y="583"/>
                        <a:pt x="55" y="583"/>
                      </a:cubicBezTo>
                      <a:cubicBezTo>
                        <a:pt x="80" y="586"/>
                        <a:pt x="80" y="586"/>
                        <a:pt x="80" y="586"/>
                      </a:cubicBezTo>
                      <a:cubicBezTo>
                        <a:pt x="80" y="586"/>
                        <a:pt x="60" y="353"/>
                        <a:pt x="175" y="317"/>
                      </a:cubicBezTo>
                      <a:cubicBezTo>
                        <a:pt x="175" y="317"/>
                        <a:pt x="640" y="522"/>
                        <a:pt x="684" y="299"/>
                      </a:cubicBezTo>
                      <a:cubicBezTo>
                        <a:pt x="688" y="577"/>
                        <a:pt x="688" y="591"/>
                        <a:pt x="688" y="591"/>
                      </a:cubicBezTo>
                      <a:cubicBezTo>
                        <a:pt x="716" y="591"/>
                        <a:pt x="716" y="591"/>
                        <a:pt x="716" y="591"/>
                      </a:cubicBezTo>
                      <a:cubicBezTo>
                        <a:pt x="753" y="550"/>
                        <a:pt x="759" y="530"/>
                        <a:pt x="760" y="529"/>
                      </a:cubicBezTo>
                      <a:cubicBezTo>
                        <a:pt x="760" y="529"/>
                        <a:pt x="760" y="530"/>
                        <a:pt x="760" y="530"/>
                      </a:cubicBezTo>
                      <a:cubicBezTo>
                        <a:pt x="775" y="488"/>
                        <a:pt x="774" y="443"/>
                        <a:pt x="774" y="396"/>
                      </a:cubicBezTo>
                      <a:cubicBezTo>
                        <a:pt x="774" y="177"/>
                        <a:pt x="606" y="0"/>
                        <a:pt x="387" y="0"/>
                      </a:cubicBezTo>
                      <a:cubicBezTo>
                        <a:pt x="169" y="0"/>
                        <a:pt x="1" y="177"/>
                        <a:pt x="1" y="396"/>
                      </a:cubicBezTo>
                      <a:cubicBezTo>
                        <a:pt x="1" y="444"/>
                        <a:pt x="0" y="491"/>
                        <a:pt x="16" y="534"/>
                      </a:cubicBezTo>
                      <a:cubicBezTo>
                        <a:pt x="16" y="534"/>
                        <a:pt x="16" y="534"/>
                        <a:pt x="16" y="5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5" name="Freeform 254"/>
                <p:cNvSpPr>
                  <a:spLocks/>
                </p:cNvSpPr>
                <p:nvPr/>
              </p:nvSpPr>
              <p:spPr bwMode="auto">
                <a:xfrm>
                  <a:off x="8451850" y="6740526"/>
                  <a:ext cx="196850" cy="165100"/>
                </a:xfrm>
                <a:custGeom>
                  <a:avLst/>
                  <a:gdLst>
                    <a:gd name="T0" fmla="*/ 0 w 124"/>
                    <a:gd name="T1" fmla="*/ 72 h 104"/>
                    <a:gd name="T2" fmla="*/ 124 w 124"/>
                    <a:gd name="T3" fmla="*/ 104 h 104"/>
                    <a:gd name="T4" fmla="*/ 124 w 124"/>
                    <a:gd name="T5" fmla="*/ 31 h 104"/>
                    <a:gd name="T6" fmla="*/ 0 w 124"/>
                    <a:gd name="T7" fmla="*/ 0 h 104"/>
                    <a:gd name="T8" fmla="*/ 0 w 124"/>
                    <a:gd name="T9" fmla="*/ 72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4" h="104">
                      <a:moveTo>
                        <a:pt x="0" y="72"/>
                      </a:moveTo>
                      <a:lnTo>
                        <a:pt x="124" y="104"/>
                      </a:lnTo>
                      <a:lnTo>
                        <a:pt x="124" y="31"/>
                      </a:lnTo>
                      <a:lnTo>
                        <a:pt x="0" y="0"/>
                      </a:lnTo>
                      <a:lnTo>
                        <a:pt x="0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6" name="Freeform 255"/>
                <p:cNvSpPr>
                  <a:spLocks/>
                </p:cNvSpPr>
                <p:nvPr/>
              </p:nvSpPr>
              <p:spPr bwMode="auto">
                <a:xfrm>
                  <a:off x="8451850" y="6872288"/>
                  <a:ext cx="196850" cy="165100"/>
                </a:xfrm>
                <a:custGeom>
                  <a:avLst/>
                  <a:gdLst>
                    <a:gd name="T0" fmla="*/ 0 w 124"/>
                    <a:gd name="T1" fmla="*/ 66 h 104"/>
                    <a:gd name="T2" fmla="*/ 124 w 124"/>
                    <a:gd name="T3" fmla="*/ 104 h 104"/>
                    <a:gd name="T4" fmla="*/ 124 w 124"/>
                    <a:gd name="T5" fmla="*/ 104 h 104"/>
                    <a:gd name="T6" fmla="*/ 124 w 124"/>
                    <a:gd name="T7" fmla="*/ 33 h 104"/>
                    <a:gd name="T8" fmla="*/ 0 w 124"/>
                    <a:gd name="T9" fmla="*/ 0 h 104"/>
                    <a:gd name="T10" fmla="*/ 0 w 124"/>
                    <a:gd name="T11" fmla="*/ 66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4" h="104">
                      <a:moveTo>
                        <a:pt x="0" y="66"/>
                      </a:moveTo>
                      <a:lnTo>
                        <a:pt x="124" y="104"/>
                      </a:lnTo>
                      <a:lnTo>
                        <a:pt x="124" y="104"/>
                      </a:lnTo>
                      <a:lnTo>
                        <a:pt x="124" y="33"/>
                      </a:lnTo>
                      <a:lnTo>
                        <a:pt x="0" y="0"/>
                      </a:lnTo>
                      <a:lnTo>
                        <a:pt x="0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7" name="Freeform 256"/>
                <p:cNvSpPr>
                  <a:spLocks/>
                </p:cNvSpPr>
                <p:nvPr/>
              </p:nvSpPr>
              <p:spPr bwMode="auto">
                <a:xfrm>
                  <a:off x="8666163" y="6872288"/>
                  <a:ext cx="165100" cy="160338"/>
                </a:xfrm>
                <a:custGeom>
                  <a:avLst/>
                  <a:gdLst>
                    <a:gd name="T0" fmla="*/ 104 w 104"/>
                    <a:gd name="T1" fmla="*/ 0 h 101"/>
                    <a:gd name="T2" fmla="*/ 0 w 104"/>
                    <a:gd name="T3" fmla="*/ 32 h 101"/>
                    <a:gd name="T4" fmla="*/ 0 w 104"/>
                    <a:gd name="T5" fmla="*/ 101 h 101"/>
                    <a:gd name="T6" fmla="*/ 104 w 104"/>
                    <a:gd name="T7" fmla="*/ 67 h 101"/>
                    <a:gd name="T8" fmla="*/ 104 w 104"/>
                    <a:gd name="T9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4" h="101">
                      <a:moveTo>
                        <a:pt x="104" y="0"/>
                      </a:moveTo>
                      <a:lnTo>
                        <a:pt x="0" y="32"/>
                      </a:lnTo>
                      <a:lnTo>
                        <a:pt x="0" y="101"/>
                      </a:lnTo>
                      <a:lnTo>
                        <a:pt x="104" y="67"/>
                      </a:lnTo>
                      <a:lnTo>
                        <a:pt x="10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8" name="Freeform 257"/>
                <p:cNvSpPr>
                  <a:spLocks/>
                </p:cNvSpPr>
                <p:nvPr/>
              </p:nvSpPr>
              <p:spPr bwMode="auto">
                <a:xfrm>
                  <a:off x="8250238" y="6626226"/>
                  <a:ext cx="557212" cy="112713"/>
                </a:xfrm>
                <a:custGeom>
                  <a:avLst/>
                  <a:gdLst>
                    <a:gd name="T0" fmla="*/ 1009 w 1388"/>
                    <a:gd name="T1" fmla="*/ 283 h 283"/>
                    <a:gd name="T2" fmla="*/ 1388 w 1388"/>
                    <a:gd name="T3" fmla="*/ 177 h 283"/>
                    <a:gd name="T4" fmla="*/ 1278 w 1388"/>
                    <a:gd name="T5" fmla="*/ 54 h 283"/>
                    <a:gd name="T6" fmla="*/ 960 w 1388"/>
                    <a:gd name="T7" fmla="*/ 0 h 283"/>
                    <a:gd name="T8" fmla="*/ 720 w 1388"/>
                    <a:gd name="T9" fmla="*/ 115 h 283"/>
                    <a:gd name="T10" fmla="*/ 481 w 1388"/>
                    <a:gd name="T11" fmla="*/ 0 h 283"/>
                    <a:gd name="T12" fmla="*/ 163 w 1388"/>
                    <a:gd name="T13" fmla="*/ 54 h 283"/>
                    <a:gd name="T14" fmla="*/ 0 w 1388"/>
                    <a:gd name="T15" fmla="*/ 277 h 283"/>
                    <a:gd name="T16" fmla="*/ 491 w 1388"/>
                    <a:gd name="T17" fmla="*/ 150 h 283"/>
                    <a:gd name="T18" fmla="*/ 1009 w 1388"/>
                    <a:gd name="T19" fmla="*/ 283 h 2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88" h="283">
                      <a:moveTo>
                        <a:pt x="1009" y="283"/>
                      </a:moveTo>
                      <a:cubicBezTo>
                        <a:pt x="1388" y="177"/>
                        <a:pt x="1388" y="177"/>
                        <a:pt x="1388" y="177"/>
                      </a:cubicBezTo>
                      <a:cubicBezTo>
                        <a:pt x="1358" y="131"/>
                        <a:pt x="1314" y="71"/>
                        <a:pt x="1278" y="54"/>
                      </a:cubicBezTo>
                      <a:cubicBezTo>
                        <a:pt x="1166" y="3"/>
                        <a:pt x="960" y="0"/>
                        <a:pt x="960" y="0"/>
                      </a:cubicBezTo>
                      <a:cubicBezTo>
                        <a:pt x="960" y="0"/>
                        <a:pt x="879" y="113"/>
                        <a:pt x="720" y="115"/>
                      </a:cubicBezTo>
                      <a:cubicBezTo>
                        <a:pt x="562" y="113"/>
                        <a:pt x="481" y="0"/>
                        <a:pt x="481" y="0"/>
                      </a:cubicBezTo>
                      <a:cubicBezTo>
                        <a:pt x="481" y="0"/>
                        <a:pt x="275" y="3"/>
                        <a:pt x="163" y="54"/>
                      </a:cubicBezTo>
                      <a:cubicBezTo>
                        <a:pt x="88" y="89"/>
                        <a:pt x="30" y="204"/>
                        <a:pt x="0" y="277"/>
                      </a:cubicBezTo>
                      <a:cubicBezTo>
                        <a:pt x="491" y="150"/>
                        <a:pt x="491" y="150"/>
                        <a:pt x="491" y="150"/>
                      </a:cubicBezTo>
                      <a:lnTo>
                        <a:pt x="1009" y="28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69" name="Freeform 258"/>
                <p:cNvSpPr>
                  <a:spLocks/>
                </p:cNvSpPr>
                <p:nvPr/>
              </p:nvSpPr>
              <p:spPr bwMode="auto">
                <a:xfrm>
                  <a:off x="8247063" y="6742113"/>
                  <a:ext cx="187325" cy="166688"/>
                </a:xfrm>
                <a:custGeom>
                  <a:avLst/>
                  <a:gdLst>
                    <a:gd name="T0" fmla="*/ 0 w 466"/>
                    <a:gd name="T1" fmla="*/ 413 h 413"/>
                    <a:gd name="T2" fmla="*/ 192 w 466"/>
                    <a:gd name="T3" fmla="*/ 359 h 413"/>
                    <a:gd name="T4" fmla="*/ 177 w 466"/>
                    <a:gd name="T5" fmla="*/ 288 h 413"/>
                    <a:gd name="T6" fmla="*/ 343 w 466"/>
                    <a:gd name="T7" fmla="*/ 118 h 413"/>
                    <a:gd name="T8" fmla="*/ 466 w 466"/>
                    <a:gd name="T9" fmla="*/ 174 h 413"/>
                    <a:gd name="T10" fmla="*/ 466 w 466"/>
                    <a:gd name="T11" fmla="*/ 0 h 413"/>
                    <a:gd name="T12" fmla="*/ 0 w 466"/>
                    <a:gd name="T13" fmla="*/ 121 h 413"/>
                    <a:gd name="T14" fmla="*/ 0 w 466"/>
                    <a:gd name="T15" fmla="*/ 413 h 4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6" h="413">
                      <a:moveTo>
                        <a:pt x="0" y="413"/>
                      </a:moveTo>
                      <a:cubicBezTo>
                        <a:pt x="192" y="359"/>
                        <a:pt x="192" y="359"/>
                        <a:pt x="192" y="359"/>
                      </a:cubicBezTo>
                      <a:cubicBezTo>
                        <a:pt x="179" y="321"/>
                        <a:pt x="177" y="301"/>
                        <a:pt x="177" y="288"/>
                      </a:cubicBezTo>
                      <a:cubicBezTo>
                        <a:pt x="177" y="195"/>
                        <a:pt x="251" y="118"/>
                        <a:pt x="343" y="118"/>
                      </a:cubicBezTo>
                      <a:cubicBezTo>
                        <a:pt x="392" y="118"/>
                        <a:pt x="436" y="140"/>
                        <a:pt x="466" y="174"/>
                      </a:cubicBezTo>
                      <a:cubicBezTo>
                        <a:pt x="466" y="0"/>
                        <a:pt x="466" y="0"/>
                        <a:pt x="466" y="0"/>
                      </a:cubicBezTo>
                      <a:cubicBezTo>
                        <a:pt x="0" y="121"/>
                        <a:pt x="0" y="121"/>
                        <a:pt x="0" y="121"/>
                      </a:cubicBezTo>
                      <a:lnTo>
                        <a:pt x="0" y="41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55" name="Group 54"/>
              <p:cNvGrpSpPr/>
              <p:nvPr/>
            </p:nvGrpSpPr>
            <p:grpSpPr>
              <a:xfrm>
                <a:off x="5509506" y="3008662"/>
                <a:ext cx="1172989" cy="1133033"/>
                <a:chOff x="8212138" y="6445251"/>
                <a:chExt cx="652462" cy="630237"/>
              </a:xfrm>
              <a:solidFill>
                <a:schemeClr val="accent1"/>
              </a:solidFill>
            </p:grpSpPr>
            <p:sp>
              <p:nvSpPr>
                <p:cNvPr id="56" name="Freeform 259"/>
                <p:cNvSpPr>
                  <a:spLocks noEditPoints="1"/>
                </p:cNvSpPr>
                <p:nvPr/>
              </p:nvSpPr>
              <p:spPr bwMode="auto">
                <a:xfrm>
                  <a:off x="8335963" y="6807201"/>
                  <a:ext cx="98425" cy="161925"/>
                </a:xfrm>
                <a:custGeom>
                  <a:avLst/>
                  <a:gdLst>
                    <a:gd name="T0" fmla="*/ 125 w 244"/>
                    <a:gd name="T1" fmla="*/ 402 h 404"/>
                    <a:gd name="T2" fmla="*/ 244 w 244"/>
                    <a:gd name="T3" fmla="*/ 126 h 404"/>
                    <a:gd name="T4" fmla="*/ 122 w 244"/>
                    <a:gd name="T5" fmla="*/ 0 h 404"/>
                    <a:gd name="T6" fmla="*/ 0 w 244"/>
                    <a:gd name="T7" fmla="*/ 126 h 404"/>
                    <a:gd name="T8" fmla="*/ 120 w 244"/>
                    <a:gd name="T9" fmla="*/ 402 h 404"/>
                    <a:gd name="T10" fmla="*/ 125 w 244"/>
                    <a:gd name="T11" fmla="*/ 402 h 404"/>
                    <a:gd name="T12" fmla="*/ 78 w 244"/>
                    <a:gd name="T13" fmla="*/ 123 h 404"/>
                    <a:gd name="T14" fmla="*/ 122 w 244"/>
                    <a:gd name="T15" fmla="*/ 79 h 404"/>
                    <a:gd name="T16" fmla="*/ 166 w 244"/>
                    <a:gd name="T17" fmla="*/ 123 h 404"/>
                    <a:gd name="T18" fmla="*/ 122 w 244"/>
                    <a:gd name="T19" fmla="*/ 167 h 404"/>
                    <a:gd name="T20" fmla="*/ 78 w 244"/>
                    <a:gd name="T21" fmla="*/ 123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44" h="404">
                      <a:moveTo>
                        <a:pt x="125" y="402"/>
                      </a:moveTo>
                      <a:cubicBezTo>
                        <a:pt x="142" y="372"/>
                        <a:pt x="244" y="190"/>
                        <a:pt x="244" y="126"/>
                      </a:cubicBezTo>
                      <a:cubicBezTo>
                        <a:pt x="244" y="57"/>
                        <a:pt x="190" y="0"/>
                        <a:pt x="122" y="0"/>
                      </a:cubicBezTo>
                      <a:cubicBezTo>
                        <a:pt x="54" y="0"/>
                        <a:pt x="0" y="57"/>
                        <a:pt x="0" y="126"/>
                      </a:cubicBezTo>
                      <a:cubicBezTo>
                        <a:pt x="0" y="190"/>
                        <a:pt x="103" y="372"/>
                        <a:pt x="120" y="402"/>
                      </a:cubicBezTo>
                      <a:cubicBezTo>
                        <a:pt x="121" y="404"/>
                        <a:pt x="124" y="404"/>
                        <a:pt x="125" y="402"/>
                      </a:cubicBezTo>
                      <a:close/>
                      <a:moveTo>
                        <a:pt x="78" y="123"/>
                      </a:moveTo>
                      <a:cubicBezTo>
                        <a:pt x="78" y="99"/>
                        <a:pt x="98" y="79"/>
                        <a:pt x="122" y="79"/>
                      </a:cubicBezTo>
                      <a:cubicBezTo>
                        <a:pt x="146" y="79"/>
                        <a:pt x="166" y="99"/>
                        <a:pt x="166" y="123"/>
                      </a:cubicBezTo>
                      <a:cubicBezTo>
                        <a:pt x="166" y="147"/>
                        <a:pt x="146" y="167"/>
                        <a:pt x="122" y="167"/>
                      </a:cubicBezTo>
                      <a:cubicBezTo>
                        <a:pt x="98" y="167"/>
                        <a:pt x="78" y="147"/>
                        <a:pt x="78" y="1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7" name="Freeform 260"/>
                <p:cNvSpPr>
                  <a:spLocks noEditPoints="1"/>
                </p:cNvSpPr>
                <p:nvPr/>
              </p:nvSpPr>
              <p:spPr bwMode="auto">
                <a:xfrm>
                  <a:off x="8759825" y="6761163"/>
                  <a:ext cx="57150" cy="93663"/>
                </a:xfrm>
                <a:custGeom>
                  <a:avLst/>
                  <a:gdLst>
                    <a:gd name="T0" fmla="*/ 72 w 141"/>
                    <a:gd name="T1" fmla="*/ 232 h 233"/>
                    <a:gd name="T2" fmla="*/ 141 w 141"/>
                    <a:gd name="T3" fmla="*/ 73 h 233"/>
                    <a:gd name="T4" fmla="*/ 70 w 141"/>
                    <a:gd name="T5" fmla="*/ 0 h 233"/>
                    <a:gd name="T6" fmla="*/ 0 w 141"/>
                    <a:gd name="T7" fmla="*/ 73 h 233"/>
                    <a:gd name="T8" fmla="*/ 69 w 141"/>
                    <a:gd name="T9" fmla="*/ 232 h 233"/>
                    <a:gd name="T10" fmla="*/ 72 w 141"/>
                    <a:gd name="T11" fmla="*/ 232 h 233"/>
                    <a:gd name="T12" fmla="*/ 45 w 141"/>
                    <a:gd name="T13" fmla="*/ 71 h 233"/>
                    <a:gd name="T14" fmla="*/ 70 w 141"/>
                    <a:gd name="T15" fmla="*/ 45 h 233"/>
                    <a:gd name="T16" fmla="*/ 96 w 141"/>
                    <a:gd name="T17" fmla="*/ 71 h 233"/>
                    <a:gd name="T18" fmla="*/ 70 w 141"/>
                    <a:gd name="T19" fmla="*/ 96 h 233"/>
                    <a:gd name="T20" fmla="*/ 45 w 141"/>
                    <a:gd name="T21" fmla="*/ 71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41" h="233">
                      <a:moveTo>
                        <a:pt x="72" y="232"/>
                      </a:moveTo>
                      <a:cubicBezTo>
                        <a:pt x="82" y="214"/>
                        <a:pt x="141" y="109"/>
                        <a:pt x="141" y="73"/>
                      </a:cubicBezTo>
                      <a:cubicBezTo>
                        <a:pt x="141" y="33"/>
                        <a:pt x="110" y="0"/>
                        <a:pt x="70" y="0"/>
                      </a:cubicBezTo>
                      <a:cubicBezTo>
                        <a:pt x="31" y="0"/>
                        <a:pt x="0" y="33"/>
                        <a:pt x="0" y="73"/>
                      </a:cubicBezTo>
                      <a:cubicBezTo>
                        <a:pt x="0" y="109"/>
                        <a:pt x="59" y="214"/>
                        <a:pt x="69" y="232"/>
                      </a:cubicBezTo>
                      <a:cubicBezTo>
                        <a:pt x="70" y="233"/>
                        <a:pt x="71" y="233"/>
                        <a:pt x="72" y="232"/>
                      </a:cubicBezTo>
                      <a:close/>
                      <a:moveTo>
                        <a:pt x="45" y="71"/>
                      </a:moveTo>
                      <a:cubicBezTo>
                        <a:pt x="45" y="57"/>
                        <a:pt x="56" y="45"/>
                        <a:pt x="70" y="45"/>
                      </a:cubicBezTo>
                      <a:cubicBezTo>
                        <a:pt x="84" y="45"/>
                        <a:pt x="96" y="57"/>
                        <a:pt x="96" y="71"/>
                      </a:cubicBezTo>
                      <a:cubicBezTo>
                        <a:pt x="96" y="85"/>
                        <a:pt x="84" y="96"/>
                        <a:pt x="70" y="96"/>
                      </a:cubicBezTo>
                      <a:cubicBezTo>
                        <a:pt x="56" y="96"/>
                        <a:pt x="45" y="85"/>
                        <a:pt x="45" y="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8" name="Freeform 261"/>
                <p:cNvSpPr>
                  <a:spLocks/>
                </p:cNvSpPr>
                <p:nvPr/>
              </p:nvSpPr>
              <p:spPr bwMode="auto">
                <a:xfrm>
                  <a:off x="8382000" y="6445251"/>
                  <a:ext cx="315912" cy="187325"/>
                </a:xfrm>
                <a:custGeom>
                  <a:avLst/>
                  <a:gdLst>
                    <a:gd name="T0" fmla="*/ 57 w 789"/>
                    <a:gd name="T1" fmla="*/ 96 h 466"/>
                    <a:gd name="T2" fmla="*/ 183 w 789"/>
                    <a:gd name="T3" fmla="*/ 352 h 466"/>
                    <a:gd name="T4" fmla="*/ 190 w 789"/>
                    <a:gd name="T5" fmla="*/ 358 h 466"/>
                    <a:gd name="T6" fmla="*/ 190 w 789"/>
                    <a:gd name="T7" fmla="*/ 423 h 466"/>
                    <a:gd name="T8" fmla="*/ 191 w 789"/>
                    <a:gd name="T9" fmla="*/ 424 h 466"/>
                    <a:gd name="T10" fmla="*/ 234 w 789"/>
                    <a:gd name="T11" fmla="*/ 466 h 466"/>
                    <a:gd name="T12" fmla="*/ 234 w 789"/>
                    <a:gd name="T13" fmla="*/ 390 h 466"/>
                    <a:gd name="T14" fmla="*/ 394 w 789"/>
                    <a:gd name="T15" fmla="*/ 454 h 466"/>
                    <a:gd name="T16" fmla="*/ 555 w 789"/>
                    <a:gd name="T17" fmla="*/ 389 h 466"/>
                    <a:gd name="T18" fmla="*/ 555 w 789"/>
                    <a:gd name="T19" fmla="*/ 466 h 466"/>
                    <a:gd name="T20" fmla="*/ 598 w 789"/>
                    <a:gd name="T21" fmla="*/ 424 h 466"/>
                    <a:gd name="T22" fmla="*/ 599 w 789"/>
                    <a:gd name="T23" fmla="*/ 423 h 466"/>
                    <a:gd name="T24" fmla="*/ 599 w 789"/>
                    <a:gd name="T25" fmla="*/ 357 h 466"/>
                    <a:gd name="T26" fmla="*/ 606 w 789"/>
                    <a:gd name="T27" fmla="*/ 352 h 466"/>
                    <a:gd name="T28" fmla="*/ 731 w 789"/>
                    <a:gd name="T29" fmla="*/ 96 h 466"/>
                    <a:gd name="T30" fmla="*/ 789 w 789"/>
                    <a:gd name="T31" fmla="*/ 4 h 466"/>
                    <a:gd name="T32" fmla="*/ 789 w 789"/>
                    <a:gd name="T33" fmla="*/ 0 h 466"/>
                    <a:gd name="T34" fmla="*/ 738 w 789"/>
                    <a:gd name="T35" fmla="*/ 24 h 466"/>
                    <a:gd name="T36" fmla="*/ 704 w 789"/>
                    <a:gd name="T37" fmla="*/ 61 h 466"/>
                    <a:gd name="T38" fmla="*/ 693 w 789"/>
                    <a:gd name="T39" fmla="*/ 73 h 466"/>
                    <a:gd name="T40" fmla="*/ 577 w 789"/>
                    <a:gd name="T41" fmla="*/ 319 h 466"/>
                    <a:gd name="T42" fmla="*/ 394 w 789"/>
                    <a:gd name="T43" fmla="*/ 410 h 466"/>
                    <a:gd name="T44" fmla="*/ 212 w 789"/>
                    <a:gd name="T45" fmla="*/ 319 h 466"/>
                    <a:gd name="T46" fmla="*/ 95 w 789"/>
                    <a:gd name="T47" fmla="*/ 73 h 466"/>
                    <a:gd name="T48" fmla="*/ 85 w 789"/>
                    <a:gd name="T49" fmla="*/ 61 h 466"/>
                    <a:gd name="T50" fmla="*/ 51 w 789"/>
                    <a:gd name="T51" fmla="*/ 24 h 466"/>
                    <a:gd name="T52" fmla="*/ 0 w 789"/>
                    <a:gd name="T53" fmla="*/ 0 h 466"/>
                    <a:gd name="T54" fmla="*/ 0 w 789"/>
                    <a:gd name="T55" fmla="*/ 6 h 466"/>
                    <a:gd name="T56" fmla="*/ 57 w 789"/>
                    <a:gd name="T57" fmla="*/ 96 h 4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89" h="466">
                      <a:moveTo>
                        <a:pt x="57" y="96"/>
                      </a:moveTo>
                      <a:cubicBezTo>
                        <a:pt x="77" y="147"/>
                        <a:pt x="147" y="320"/>
                        <a:pt x="183" y="352"/>
                      </a:cubicBezTo>
                      <a:cubicBezTo>
                        <a:pt x="185" y="354"/>
                        <a:pt x="187" y="356"/>
                        <a:pt x="190" y="358"/>
                      </a:cubicBezTo>
                      <a:cubicBezTo>
                        <a:pt x="190" y="423"/>
                        <a:pt x="190" y="423"/>
                        <a:pt x="190" y="423"/>
                      </a:cubicBezTo>
                      <a:cubicBezTo>
                        <a:pt x="191" y="424"/>
                        <a:pt x="191" y="424"/>
                        <a:pt x="191" y="424"/>
                      </a:cubicBezTo>
                      <a:cubicBezTo>
                        <a:pt x="192" y="426"/>
                        <a:pt x="206" y="445"/>
                        <a:pt x="234" y="466"/>
                      </a:cubicBezTo>
                      <a:cubicBezTo>
                        <a:pt x="234" y="390"/>
                        <a:pt x="234" y="390"/>
                        <a:pt x="234" y="390"/>
                      </a:cubicBezTo>
                      <a:cubicBezTo>
                        <a:pt x="282" y="421"/>
                        <a:pt x="348" y="454"/>
                        <a:pt x="394" y="454"/>
                      </a:cubicBezTo>
                      <a:cubicBezTo>
                        <a:pt x="441" y="454"/>
                        <a:pt x="506" y="421"/>
                        <a:pt x="555" y="389"/>
                      </a:cubicBezTo>
                      <a:cubicBezTo>
                        <a:pt x="555" y="466"/>
                        <a:pt x="555" y="466"/>
                        <a:pt x="555" y="466"/>
                      </a:cubicBezTo>
                      <a:cubicBezTo>
                        <a:pt x="583" y="445"/>
                        <a:pt x="598" y="425"/>
                        <a:pt x="598" y="424"/>
                      </a:cubicBezTo>
                      <a:cubicBezTo>
                        <a:pt x="599" y="423"/>
                        <a:pt x="599" y="423"/>
                        <a:pt x="599" y="423"/>
                      </a:cubicBezTo>
                      <a:cubicBezTo>
                        <a:pt x="599" y="357"/>
                        <a:pt x="599" y="357"/>
                        <a:pt x="599" y="357"/>
                      </a:cubicBezTo>
                      <a:cubicBezTo>
                        <a:pt x="601" y="355"/>
                        <a:pt x="604" y="353"/>
                        <a:pt x="606" y="352"/>
                      </a:cubicBezTo>
                      <a:cubicBezTo>
                        <a:pt x="641" y="320"/>
                        <a:pt x="711" y="147"/>
                        <a:pt x="731" y="96"/>
                      </a:cubicBezTo>
                      <a:cubicBezTo>
                        <a:pt x="775" y="70"/>
                        <a:pt x="786" y="24"/>
                        <a:pt x="789" y="4"/>
                      </a:cubicBezTo>
                      <a:cubicBezTo>
                        <a:pt x="789" y="3"/>
                        <a:pt x="789" y="1"/>
                        <a:pt x="789" y="0"/>
                      </a:cubicBezTo>
                      <a:cubicBezTo>
                        <a:pt x="738" y="24"/>
                        <a:pt x="738" y="24"/>
                        <a:pt x="738" y="24"/>
                      </a:cubicBezTo>
                      <a:cubicBezTo>
                        <a:pt x="732" y="38"/>
                        <a:pt x="722" y="52"/>
                        <a:pt x="704" y="61"/>
                      </a:cubicBezTo>
                      <a:cubicBezTo>
                        <a:pt x="699" y="64"/>
                        <a:pt x="695" y="68"/>
                        <a:pt x="693" y="73"/>
                      </a:cubicBezTo>
                      <a:cubicBezTo>
                        <a:pt x="658" y="163"/>
                        <a:pt x="598" y="299"/>
                        <a:pt x="577" y="319"/>
                      </a:cubicBezTo>
                      <a:cubicBezTo>
                        <a:pt x="542" y="350"/>
                        <a:pt x="445" y="410"/>
                        <a:pt x="394" y="410"/>
                      </a:cubicBezTo>
                      <a:cubicBezTo>
                        <a:pt x="343" y="410"/>
                        <a:pt x="247" y="350"/>
                        <a:pt x="212" y="319"/>
                      </a:cubicBezTo>
                      <a:cubicBezTo>
                        <a:pt x="190" y="299"/>
                        <a:pt x="131" y="163"/>
                        <a:pt x="95" y="73"/>
                      </a:cubicBezTo>
                      <a:cubicBezTo>
                        <a:pt x="93" y="68"/>
                        <a:pt x="90" y="64"/>
                        <a:pt x="85" y="61"/>
                      </a:cubicBezTo>
                      <a:cubicBezTo>
                        <a:pt x="67" y="52"/>
                        <a:pt x="57" y="38"/>
                        <a:pt x="51" y="2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"/>
                        <a:pt x="0" y="4"/>
                        <a:pt x="0" y="6"/>
                      </a:cubicBezTo>
                      <a:cubicBezTo>
                        <a:pt x="4" y="30"/>
                        <a:pt x="16" y="72"/>
                        <a:pt x="57" y="9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9" name="Freeform 262"/>
                <p:cNvSpPr>
                  <a:spLocks noEditPoints="1"/>
                </p:cNvSpPr>
                <p:nvPr/>
              </p:nvSpPr>
              <p:spPr bwMode="auto">
                <a:xfrm>
                  <a:off x="8212138" y="6704013"/>
                  <a:ext cx="652462" cy="371475"/>
                </a:xfrm>
                <a:custGeom>
                  <a:avLst/>
                  <a:gdLst>
                    <a:gd name="T0" fmla="*/ 1609 w 1626"/>
                    <a:gd name="T1" fmla="*/ 9 h 924"/>
                    <a:gd name="T2" fmla="*/ 1582 w 1626"/>
                    <a:gd name="T3" fmla="*/ 0 h 924"/>
                    <a:gd name="T4" fmla="*/ 1571 w 1626"/>
                    <a:gd name="T5" fmla="*/ 2 h 924"/>
                    <a:gd name="T6" fmla="*/ 1106 w 1626"/>
                    <a:gd name="T7" fmla="*/ 130 h 924"/>
                    <a:gd name="T8" fmla="*/ 600 w 1626"/>
                    <a:gd name="T9" fmla="*/ 1 h 924"/>
                    <a:gd name="T10" fmla="*/ 589 w 1626"/>
                    <a:gd name="T11" fmla="*/ 0 h 924"/>
                    <a:gd name="T12" fmla="*/ 578 w 1626"/>
                    <a:gd name="T13" fmla="*/ 1 h 924"/>
                    <a:gd name="T14" fmla="*/ 33 w 1626"/>
                    <a:gd name="T15" fmla="*/ 142 h 924"/>
                    <a:gd name="T16" fmla="*/ 0 w 1626"/>
                    <a:gd name="T17" fmla="*/ 185 h 924"/>
                    <a:gd name="T18" fmla="*/ 0 w 1626"/>
                    <a:gd name="T19" fmla="*/ 880 h 924"/>
                    <a:gd name="T20" fmla="*/ 18 w 1626"/>
                    <a:gd name="T21" fmla="*/ 916 h 924"/>
                    <a:gd name="T22" fmla="*/ 44 w 1626"/>
                    <a:gd name="T23" fmla="*/ 924 h 924"/>
                    <a:gd name="T24" fmla="*/ 57 w 1626"/>
                    <a:gd name="T25" fmla="*/ 922 h 924"/>
                    <a:gd name="T26" fmla="*/ 565 w 1626"/>
                    <a:gd name="T27" fmla="*/ 764 h 924"/>
                    <a:gd name="T28" fmla="*/ 1075 w 1626"/>
                    <a:gd name="T29" fmla="*/ 922 h 924"/>
                    <a:gd name="T30" fmla="*/ 1088 w 1626"/>
                    <a:gd name="T31" fmla="*/ 924 h 924"/>
                    <a:gd name="T32" fmla="*/ 1102 w 1626"/>
                    <a:gd name="T33" fmla="*/ 922 h 924"/>
                    <a:gd name="T34" fmla="*/ 1596 w 1626"/>
                    <a:gd name="T35" fmla="*/ 760 h 924"/>
                    <a:gd name="T36" fmla="*/ 1626 w 1626"/>
                    <a:gd name="T37" fmla="*/ 718 h 924"/>
                    <a:gd name="T38" fmla="*/ 1626 w 1626"/>
                    <a:gd name="T39" fmla="*/ 44 h 924"/>
                    <a:gd name="T40" fmla="*/ 1609 w 1626"/>
                    <a:gd name="T41" fmla="*/ 9 h 924"/>
                    <a:gd name="T42" fmla="*/ 1582 w 1626"/>
                    <a:gd name="T43" fmla="*/ 718 h 924"/>
                    <a:gd name="T44" fmla="*/ 1088 w 1626"/>
                    <a:gd name="T45" fmla="*/ 880 h 924"/>
                    <a:gd name="T46" fmla="*/ 578 w 1626"/>
                    <a:gd name="T47" fmla="*/ 722 h 924"/>
                    <a:gd name="T48" fmla="*/ 565 w 1626"/>
                    <a:gd name="T49" fmla="*/ 718 h 924"/>
                    <a:gd name="T50" fmla="*/ 552 w 1626"/>
                    <a:gd name="T51" fmla="*/ 722 h 924"/>
                    <a:gd name="T52" fmla="*/ 44 w 1626"/>
                    <a:gd name="T53" fmla="*/ 880 h 924"/>
                    <a:gd name="T54" fmla="*/ 44 w 1626"/>
                    <a:gd name="T55" fmla="*/ 185 h 924"/>
                    <a:gd name="T56" fmla="*/ 589 w 1626"/>
                    <a:gd name="T57" fmla="*/ 44 h 924"/>
                    <a:gd name="T58" fmla="*/ 1095 w 1626"/>
                    <a:gd name="T59" fmla="*/ 173 h 924"/>
                    <a:gd name="T60" fmla="*/ 1106 w 1626"/>
                    <a:gd name="T61" fmla="*/ 176 h 924"/>
                    <a:gd name="T62" fmla="*/ 1117 w 1626"/>
                    <a:gd name="T63" fmla="*/ 173 h 924"/>
                    <a:gd name="T64" fmla="*/ 1582 w 1626"/>
                    <a:gd name="T65" fmla="*/ 44 h 924"/>
                    <a:gd name="T66" fmla="*/ 1582 w 1626"/>
                    <a:gd name="T67" fmla="*/ 718 h 9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626" h="924">
                      <a:moveTo>
                        <a:pt x="1609" y="9"/>
                      </a:moveTo>
                      <a:cubicBezTo>
                        <a:pt x="1601" y="3"/>
                        <a:pt x="1592" y="0"/>
                        <a:pt x="1582" y="0"/>
                      </a:cubicBezTo>
                      <a:cubicBezTo>
                        <a:pt x="1578" y="0"/>
                        <a:pt x="1574" y="0"/>
                        <a:pt x="1571" y="2"/>
                      </a:cubicBezTo>
                      <a:cubicBezTo>
                        <a:pt x="1106" y="130"/>
                        <a:pt x="1106" y="130"/>
                        <a:pt x="1106" y="130"/>
                      </a:cubicBezTo>
                      <a:cubicBezTo>
                        <a:pt x="600" y="1"/>
                        <a:pt x="600" y="1"/>
                        <a:pt x="600" y="1"/>
                      </a:cubicBezTo>
                      <a:cubicBezTo>
                        <a:pt x="597" y="0"/>
                        <a:pt x="593" y="0"/>
                        <a:pt x="589" y="0"/>
                      </a:cubicBezTo>
                      <a:cubicBezTo>
                        <a:pt x="586" y="0"/>
                        <a:pt x="582" y="0"/>
                        <a:pt x="578" y="1"/>
                      </a:cubicBezTo>
                      <a:cubicBezTo>
                        <a:pt x="33" y="142"/>
                        <a:pt x="33" y="142"/>
                        <a:pt x="33" y="142"/>
                      </a:cubicBezTo>
                      <a:cubicBezTo>
                        <a:pt x="13" y="147"/>
                        <a:pt x="0" y="165"/>
                        <a:pt x="0" y="185"/>
                      </a:cubicBezTo>
                      <a:cubicBezTo>
                        <a:pt x="0" y="880"/>
                        <a:pt x="0" y="880"/>
                        <a:pt x="0" y="880"/>
                      </a:cubicBezTo>
                      <a:cubicBezTo>
                        <a:pt x="0" y="894"/>
                        <a:pt x="6" y="907"/>
                        <a:pt x="18" y="916"/>
                      </a:cubicBezTo>
                      <a:cubicBezTo>
                        <a:pt x="25" y="921"/>
                        <a:pt x="34" y="924"/>
                        <a:pt x="44" y="924"/>
                      </a:cubicBezTo>
                      <a:cubicBezTo>
                        <a:pt x="48" y="924"/>
                        <a:pt x="52" y="924"/>
                        <a:pt x="57" y="922"/>
                      </a:cubicBezTo>
                      <a:cubicBezTo>
                        <a:pt x="565" y="764"/>
                        <a:pt x="565" y="764"/>
                        <a:pt x="565" y="764"/>
                      </a:cubicBezTo>
                      <a:cubicBezTo>
                        <a:pt x="1075" y="922"/>
                        <a:pt x="1075" y="922"/>
                        <a:pt x="1075" y="922"/>
                      </a:cubicBezTo>
                      <a:cubicBezTo>
                        <a:pt x="1079" y="924"/>
                        <a:pt x="1084" y="924"/>
                        <a:pt x="1088" y="924"/>
                      </a:cubicBezTo>
                      <a:cubicBezTo>
                        <a:pt x="1093" y="924"/>
                        <a:pt x="1097" y="924"/>
                        <a:pt x="1102" y="922"/>
                      </a:cubicBezTo>
                      <a:cubicBezTo>
                        <a:pt x="1596" y="760"/>
                        <a:pt x="1596" y="760"/>
                        <a:pt x="1596" y="760"/>
                      </a:cubicBezTo>
                      <a:cubicBezTo>
                        <a:pt x="1614" y="754"/>
                        <a:pt x="1626" y="737"/>
                        <a:pt x="1626" y="718"/>
                      </a:cubicBezTo>
                      <a:cubicBezTo>
                        <a:pt x="1626" y="44"/>
                        <a:pt x="1626" y="44"/>
                        <a:pt x="1626" y="44"/>
                      </a:cubicBezTo>
                      <a:cubicBezTo>
                        <a:pt x="1626" y="30"/>
                        <a:pt x="1620" y="17"/>
                        <a:pt x="1609" y="9"/>
                      </a:cubicBezTo>
                      <a:close/>
                      <a:moveTo>
                        <a:pt x="1582" y="718"/>
                      </a:moveTo>
                      <a:cubicBezTo>
                        <a:pt x="1088" y="880"/>
                        <a:pt x="1088" y="880"/>
                        <a:pt x="1088" y="880"/>
                      </a:cubicBezTo>
                      <a:cubicBezTo>
                        <a:pt x="578" y="722"/>
                        <a:pt x="578" y="722"/>
                        <a:pt x="578" y="722"/>
                      </a:cubicBezTo>
                      <a:cubicBezTo>
                        <a:pt x="565" y="718"/>
                        <a:pt x="565" y="718"/>
                        <a:pt x="565" y="718"/>
                      </a:cubicBezTo>
                      <a:cubicBezTo>
                        <a:pt x="552" y="722"/>
                        <a:pt x="552" y="722"/>
                        <a:pt x="552" y="722"/>
                      </a:cubicBezTo>
                      <a:cubicBezTo>
                        <a:pt x="44" y="880"/>
                        <a:pt x="44" y="880"/>
                        <a:pt x="44" y="880"/>
                      </a:cubicBezTo>
                      <a:cubicBezTo>
                        <a:pt x="44" y="185"/>
                        <a:pt x="44" y="185"/>
                        <a:pt x="44" y="185"/>
                      </a:cubicBezTo>
                      <a:cubicBezTo>
                        <a:pt x="589" y="44"/>
                        <a:pt x="589" y="44"/>
                        <a:pt x="589" y="44"/>
                      </a:cubicBezTo>
                      <a:cubicBezTo>
                        <a:pt x="1095" y="173"/>
                        <a:pt x="1095" y="173"/>
                        <a:pt x="1095" y="173"/>
                      </a:cubicBezTo>
                      <a:cubicBezTo>
                        <a:pt x="1106" y="176"/>
                        <a:pt x="1106" y="176"/>
                        <a:pt x="1106" y="176"/>
                      </a:cubicBezTo>
                      <a:cubicBezTo>
                        <a:pt x="1117" y="173"/>
                        <a:pt x="1117" y="173"/>
                        <a:pt x="1117" y="173"/>
                      </a:cubicBezTo>
                      <a:cubicBezTo>
                        <a:pt x="1582" y="44"/>
                        <a:pt x="1582" y="44"/>
                        <a:pt x="1582" y="44"/>
                      </a:cubicBezTo>
                      <a:lnTo>
                        <a:pt x="1582" y="7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53" name="AutoShape 159"/>
            <p:cNvSpPr>
              <a:spLocks noChangeAspect="1" noChangeArrowheads="1" noTextEdit="1"/>
            </p:cNvSpPr>
            <p:nvPr/>
          </p:nvSpPr>
          <p:spPr bwMode="auto">
            <a:xfrm>
              <a:off x="5251219" y="2517776"/>
              <a:ext cx="1689562" cy="168956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9A9A9A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7684011" y="487823"/>
            <a:ext cx="824434" cy="825231"/>
            <a:chOff x="7997825" y="3276600"/>
            <a:chExt cx="1644650" cy="1646238"/>
          </a:xfrm>
        </p:grpSpPr>
        <p:sp>
          <p:nvSpPr>
            <p:cNvPr id="38" name="AutoShape 16"/>
            <p:cNvSpPr>
              <a:spLocks noChangeAspect="1" noChangeArrowheads="1" noTextEdit="1"/>
            </p:cNvSpPr>
            <p:nvPr/>
          </p:nvSpPr>
          <p:spPr bwMode="auto">
            <a:xfrm>
              <a:off x="7997825" y="3276600"/>
              <a:ext cx="1644650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8161336" y="3695700"/>
              <a:ext cx="1311276" cy="788987"/>
              <a:chOff x="8161336" y="3695700"/>
              <a:chExt cx="1311276" cy="788987"/>
            </a:xfrm>
          </p:grpSpPr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8161336" y="3946523"/>
                <a:ext cx="1311276" cy="538164"/>
              </a:xfrm>
              <a:custGeom>
                <a:avLst/>
                <a:gdLst>
                  <a:gd name="connsiteX0" fmla="*/ 1042195 w 1311276"/>
                  <a:gd name="connsiteY0" fmla="*/ 31751 h 538164"/>
                  <a:gd name="connsiteX1" fmla="*/ 804863 w 1311276"/>
                  <a:gd name="connsiteY1" fmla="*/ 269083 h 538164"/>
                  <a:gd name="connsiteX2" fmla="*/ 1042195 w 1311276"/>
                  <a:gd name="connsiteY2" fmla="*/ 506415 h 538164"/>
                  <a:gd name="connsiteX3" fmla="*/ 1279527 w 1311276"/>
                  <a:gd name="connsiteY3" fmla="*/ 269083 h 538164"/>
                  <a:gd name="connsiteX4" fmla="*/ 1042195 w 1311276"/>
                  <a:gd name="connsiteY4" fmla="*/ 31751 h 538164"/>
                  <a:gd name="connsiteX5" fmla="*/ 267494 w 1311276"/>
                  <a:gd name="connsiteY5" fmla="*/ 31750 h 538164"/>
                  <a:gd name="connsiteX6" fmla="*/ 30162 w 1311276"/>
                  <a:gd name="connsiteY6" fmla="*/ 269082 h 538164"/>
                  <a:gd name="connsiteX7" fmla="*/ 267494 w 1311276"/>
                  <a:gd name="connsiteY7" fmla="*/ 506414 h 538164"/>
                  <a:gd name="connsiteX8" fmla="*/ 504826 w 1311276"/>
                  <a:gd name="connsiteY8" fmla="*/ 269082 h 538164"/>
                  <a:gd name="connsiteX9" fmla="*/ 267494 w 1311276"/>
                  <a:gd name="connsiteY9" fmla="*/ 31750 h 538164"/>
                  <a:gd name="connsiteX10" fmla="*/ 1042552 w 1311276"/>
                  <a:gd name="connsiteY10" fmla="*/ 1 h 538164"/>
                  <a:gd name="connsiteX11" fmla="*/ 1311276 w 1311276"/>
                  <a:gd name="connsiteY11" fmla="*/ 268725 h 538164"/>
                  <a:gd name="connsiteX12" fmla="*/ 1042552 w 1311276"/>
                  <a:gd name="connsiteY12" fmla="*/ 538164 h 538164"/>
                  <a:gd name="connsiteX13" fmla="*/ 773113 w 1311276"/>
                  <a:gd name="connsiteY13" fmla="*/ 268725 h 538164"/>
                  <a:gd name="connsiteX14" fmla="*/ 1042552 w 1311276"/>
                  <a:gd name="connsiteY14" fmla="*/ 1 h 538164"/>
                  <a:gd name="connsiteX15" fmla="*/ 268288 w 1311276"/>
                  <a:gd name="connsiteY15" fmla="*/ 0 h 538164"/>
                  <a:gd name="connsiteX16" fmla="*/ 536576 w 1311276"/>
                  <a:gd name="connsiteY16" fmla="*/ 269082 h 538164"/>
                  <a:gd name="connsiteX17" fmla="*/ 268288 w 1311276"/>
                  <a:gd name="connsiteY17" fmla="*/ 538164 h 538164"/>
                  <a:gd name="connsiteX18" fmla="*/ 0 w 1311276"/>
                  <a:gd name="connsiteY18" fmla="*/ 269082 h 538164"/>
                  <a:gd name="connsiteX19" fmla="*/ 268288 w 1311276"/>
                  <a:gd name="connsiteY19" fmla="*/ 0 h 538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311276" h="538164">
                    <a:moveTo>
                      <a:pt x="1042195" y="31751"/>
                    </a:moveTo>
                    <a:cubicBezTo>
                      <a:pt x="911120" y="31751"/>
                      <a:pt x="804863" y="138008"/>
                      <a:pt x="804863" y="269083"/>
                    </a:cubicBezTo>
                    <a:cubicBezTo>
                      <a:pt x="804863" y="400158"/>
                      <a:pt x="911120" y="506415"/>
                      <a:pt x="1042195" y="506415"/>
                    </a:cubicBezTo>
                    <a:cubicBezTo>
                      <a:pt x="1173270" y="506415"/>
                      <a:pt x="1279527" y="400158"/>
                      <a:pt x="1279527" y="269083"/>
                    </a:cubicBezTo>
                    <a:cubicBezTo>
                      <a:pt x="1279527" y="138008"/>
                      <a:pt x="1173270" y="31751"/>
                      <a:pt x="1042195" y="31751"/>
                    </a:cubicBezTo>
                    <a:close/>
                    <a:moveTo>
                      <a:pt x="267494" y="31750"/>
                    </a:moveTo>
                    <a:cubicBezTo>
                      <a:pt x="136419" y="31750"/>
                      <a:pt x="30162" y="138007"/>
                      <a:pt x="30162" y="269082"/>
                    </a:cubicBezTo>
                    <a:cubicBezTo>
                      <a:pt x="30162" y="400157"/>
                      <a:pt x="136419" y="506414"/>
                      <a:pt x="267494" y="506414"/>
                    </a:cubicBezTo>
                    <a:cubicBezTo>
                      <a:pt x="398569" y="506414"/>
                      <a:pt x="504826" y="400157"/>
                      <a:pt x="504826" y="269082"/>
                    </a:cubicBezTo>
                    <a:cubicBezTo>
                      <a:pt x="504826" y="138007"/>
                      <a:pt x="398569" y="31750"/>
                      <a:pt x="267494" y="31750"/>
                    </a:cubicBezTo>
                    <a:close/>
                    <a:moveTo>
                      <a:pt x="1042552" y="1"/>
                    </a:moveTo>
                    <a:cubicBezTo>
                      <a:pt x="1190493" y="1"/>
                      <a:pt x="1311276" y="120784"/>
                      <a:pt x="1311276" y="268725"/>
                    </a:cubicBezTo>
                    <a:cubicBezTo>
                      <a:pt x="1311276" y="417381"/>
                      <a:pt x="1190493" y="538164"/>
                      <a:pt x="1042552" y="538164"/>
                    </a:cubicBezTo>
                    <a:cubicBezTo>
                      <a:pt x="893181" y="538164"/>
                      <a:pt x="773113" y="417381"/>
                      <a:pt x="773113" y="268725"/>
                    </a:cubicBezTo>
                    <a:cubicBezTo>
                      <a:pt x="773113" y="120784"/>
                      <a:pt x="893181" y="1"/>
                      <a:pt x="1042552" y="1"/>
                    </a:cubicBezTo>
                    <a:close/>
                    <a:moveTo>
                      <a:pt x="268288" y="0"/>
                    </a:moveTo>
                    <a:cubicBezTo>
                      <a:pt x="416459" y="0"/>
                      <a:pt x="536576" y="120472"/>
                      <a:pt x="536576" y="269082"/>
                    </a:cubicBezTo>
                    <a:cubicBezTo>
                      <a:pt x="536576" y="417692"/>
                      <a:pt x="416459" y="538164"/>
                      <a:pt x="268288" y="538164"/>
                    </a:cubicBezTo>
                    <a:cubicBezTo>
                      <a:pt x="120117" y="538164"/>
                      <a:pt x="0" y="417692"/>
                      <a:pt x="0" y="269082"/>
                    </a:cubicBezTo>
                    <a:cubicBezTo>
                      <a:pt x="0" y="120472"/>
                      <a:pt x="120117" y="0"/>
                      <a:pt x="26828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8223250" y="3695700"/>
                <a:ext cx="1185863" cy="588963"/>
              </a:xfrm>
              <a:custGeom>
                <a:avLst/>
                <a:gdLst>
                  <a:gd name="connsiteX0" fmla="*/ 593726 w 1185863"/>
                  <a:gd name="connsiteY0" fmla="*/ 439738 h 588963"/>
                  <a:gd name="connsiteX1" fmla="*/ 534988 w 1185863"/>
                  <a:gd name="connsiteY1" fmla="*/ 498476 h 588963"/>
                  <a:gd name="connsiteX2" fmla="*/ 593726 w 1185863"/>
                  <a:gd name="connsiteY2" fmla="*/ 557214 h 588963"/>
                  <a:gd name="connsiteX3" fmla="*/ 652464 w 1185863"/>
                  <a:gd name="connsiteY3" fmla="*/ 498476 h 588963"/>
                  <a:gd name="connsiteX4" fmla="*/ 593726 w 1185863"/>
                  <a:gd name="connsiteY4" fmla="*/ 439738 h 588963"/>
                  <a:gd name="connsiteX5" fmla="*/ 979335 w 1185863"/>
                  <a:gd name="connsiteY5" fmla="*/ 314325 h 588963"/>
                  <a:gd name="connsiteX6" fmla="*/ 1185863 w 1185863"/>
                  <a:gd name="connsiteY6" fmla="*/ 520853 h 588963"/>
                  <a:gd name="connsiteX7" fmla="*/ 1170141 w 1185863"/>
                  <a:gd name="connsiteY7" fmla="*/ 536575 h 588963"/>
                  <a:gd name="connsiteX8" fmla="*/ 1154419 w 1185863"/>
                  <a:gd name="connsiteY8" fmla="*/ 520853 h 588963"/>
                  <a:gd name="connsiteX9" fmla="*/ 979335 w 1185863"/>
                  <a:gd name="connsiteY9" fmla="*/ 345054 h 588963"/>
                  <a:gd name="connsiteX10" fmla="*/ 963613 w 1185863"/>
                  <a:gd name="connsiteY10" fmla="*/ 330047 h 588963"/>
                  <a:gd name="connsiteX11" fmla="*/ 979335 w 1185863"/>
                  <a:gd name="connsiteY11" fmla="*/ 314325 h 588963"/>
                  <a:gd name="connsiteX12" fmla="*/ 206579 w 1185863"/>
                  <a:gd name="connsiteY12" fmla="*/ 314325 h 588963"/>
                  <a:gd name="connsiteX13" fmla="*/ 222250 w 1185863"/>
                  <a:gd name="connsiteY13" fmla="*/ 330047 h 588963"/>
                  <a:gd name="connsiteX14" fmla="*/ 206579 w 1185863"/>
                  <a:gd name="connsiteY14" fmla="*/ 345054 h 588963"/>
                  <a:gd name="connsiteX15" fmla="*/ 31343 w 1185863"/>
                  <a:gd name="connsiteY15" fmla="*/ 520853 h 588963"/>
                  <a:gd name="connsiteX16" fmla="*/ 15671 w 1185863"/>
                  <a:gd name="connsiteY16" fmla="*/ 536575 h 588963"/>
                  <a:gd name="connsiteX17" fmla="*/ 0 w 1185863"/>
                  <a:gd name="connsiteY17" fmla="*/ 520853 h 588963"/>
                  <a:gd name="connsiteX18" fmla="*/ 206579 w 1185863"/>
                  <a:gd name="connsiteY18" fmla="*/ 314325 h 588963"/>
                  <a:gd name="connsiteX19" fmla="*/ 399587 w 1185863"/>
                  <a:gd name="connsiteY19" fmla="*/ 0 h 588963"/>
                  <a:gd name="connsiteX20" fmla="*/ 514500 w 1185863"/>
                  <a:gd name="connsiteY20" fmla="*/ 114937 h 588963"/>
                  <a:gd name="connsiteX21" fmla="*/ 514500 w 1185863"/>
                  <a:gd name="connsiteY21" fmla="*/ 129929 h 588963"/>
                  <a:gd name="connsiteX22" fmla="*/ 507363 w 1185863"/>
                  <a:gd name="connsiteY22" fmla="*/ 203460 h 588963"/>
                  <a:gd name="connsiteX23" fmla="*/ 521637 w 1185863"/>
                  <a:gd name="connsiteY23" fmla="*/ 227732 h 588963"/>
                  <a:gd name="connsiteX24" fmla="*/ 593726 w 1185863"/>
                  <a:gd name="connsiteY24" fmla="*/ 190610 h 588963"/>
                  <a:gd name="connsiteX25" fmla="*/ 665814 w 1185863"/>
                  <a:gd name="connsiteY25" fmla="*/ 227019 h 588963"/>
                  <a:gd name="connsiteX26" fmla="*/ 680088 w 1185863"/>
                  <a:gd name="connsiteY26" fmla="*/ 203460 h 588963"/>
                  <a:gd name="connsiteX27" fmla="*/ 672951 w 1185863"/>
                  <a:gd name="connsiteY27" fmla="*/ 129929 h 588963"/>
                  <a:gd name="connsiteX28" fmla="*/ 672951 w 1185863"/>
                  <a:gd name="connsiteY28" fmla="*/ 114937 h 588963"/>
                  <a:gd name="connsiteX29" fmla="*/ 787864 w 1185863"/>
                  <a:gd name="connsiteY29" fmla="*/ 0 h 588963"/>
                  <a:gd name="connsiteX30" fmla="*/ 876368 w 1185863"/>
                  <a:gd name="connsiteY30" fmla="*/ 42120 h 588963"/>
                  <a:gd name="connsiteX31" fmla="*/ 925616 w 1185863"/>
                  <a:gd name="connsiteY31" fmla="*/ 98518 h 588963"/>
                  <a:gd name="connsiteX32" fmla="*/ 926330 w 1185863"/>
                  <a:gd name="connsiteY32" fmla="*/ 102801 h 588963"/>
                  <a:gd name="connsiteX33" fmla="*/ 1059800 w 1185863"/>
                  <a:gd name="connsiteY33" fmla="*/ 179188 h 588963"/>
                  <a:gd name="connsiteX34" fmla="*/ 1071934 w 1185863"/>
                  <a:gd name="connsiteY34" fmla="*/ 192038 h 588963"/>
                  <a:gd name="connsiteX35" fmla="*/ 1092632 w 1185863"/>
                  <a:gd name="connsiteY35" fmla="*/ 214168 h 588963"/>
                  <a:gd name="connsiteX36" fmla="*/ 1131888 w 1185863"/>
                  <a:gd name="connsiteY36" fmla="*/ 261286 h 588963"/>
                  <a:gd name="connsiteX37" fmla="*/ 979861 w 1185863"/>
                  <a:gd name="connsiteY37" fmla="*/ 220594 h 588963"/>
                  <a:gd name="connsiteX38" fmla="*/ 682943 w 1185863"/>
                  <a:gd name="connsiteY38" fmla="*/ 486162 h 588963"/>
                  <a:gd name="connsiteX39" fmla="*/ 683657 w 1185863"/>
                  <a:gd name="connsiteY39" fmla="*/ 499013 h 588963"/>
                  <a:gd name="connsiteX40" fmla="*/ 593726 w 1185863"/>
                  <a:gd name="connsiteY40" fmla="*/ 588963 h 588963"/>
                  <a:gd name="connsiteX41" fmla="*/ 504508 w 1185863"/>
                  <a:gd name="connsiteY41" fmla="*/ 499013 h 588963"/>
                  <a:gd name="connsiteX42" fmla="*/ 504508 w 1185863"/>
                  <a:gd name="connsiteY42" fmla="*/ 489018 h 588963"/>
                  <a:gd name="connsiteX43" fmla="*/ 206877 w 1185863"/>
                  <a:gd name="connsiteY43" fmla="*/ 220594 h 588963"/>
                  <a:gd name="connsiteX44" fmla="*/ 55563 w 1185863"/>
                  <a:gd name="connsiteY44" fmla="*/ 261286 h 588963"/>
                  <a:gd name="connsiteX45" fmla="*/ 94105 w 1185863"/>
                  <a:gd name="connsiteY45" fmla="*/ 214168 h 588963"/>
                  <a:gd name="connsiteX46" fmla="*/ 115518 w 1185863"/>
                  <a:gd name="connsiteY46" fmla="*/ 192038 h 588963"/>
                  <a:gd name="connsiteX47" fmla="*/ 127651 w 1185863"/>
                  <a:gd name="connsiteY47" fmla="*/ 179188 h 588963"/>
                  <a:gd name="connsiteX48" fmla="*/ 260407 w 1185863"/>
                  <a:gd name="connsiteY48" fmla="*/ 102801 h 588963"/>
                  <a:gd name="connsiteX49" fmla="*/ 261835 w 1185863"/>
                  <a:gd name="connsiteY49" fmla="*/ 98518 h 588963"/>
                  <a:gd name="connsiteX50" fmla="*/ 311083 w 1185863"/>
                  <a:gd name="connsiteY50" fmla="*/ 42120 h 588963"/>
                  <a:gd name="connsiteX51" fmla="*/ 399587 w 1185863"/>
                  <a:gd name="connsiteY51" fmla="*/ 0 h 588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185863" h="588963">
                    <a:moveTo>
                      <a:pt x="593726" y="439738"/>
                    </a:moveTo>
                    <a:cubicBezTo>
                      <a:pt x="561286" y="439738"/>
                      <a:pt x="534988" y="466036"/>
                      <a:pt x="534988" y="498476"/>
                    </a:cubicBezTo>
                    <a:cubicBezTo>
                      <a:pt x="534988" y="530916"/>
                      <a:pt x="561286" y="557214"/>
                      <a:pt x="593726" y="557214"/>
                    </a:cubicBezTo>
                    <a:cubicBezTo>
                      <a:pt x="626166" y="557214"/>
                      <a:pt x="652464" y="530916"/>
                      <a:pt x="652464" y="498476"/>
                    </a:cubicBezTo>
                    <a:cubicBezTo>
                      <a:pt x="652464" y="466036"/>
                      <a:pt x="626166" y="439738"/>
                      <a:pt x="593726" y="439738"/>
                    </a:cubicBezTo>
                    <a:close/>
                    <a:moveTo>
                      <a:pt x="979335" y="314325"/>
                    </a:moveTo>
                    <a:cubicBezTo>
                      <a:pt x="1092961" y="314325"/>
                      <a:pt x="1185863" y="407227"/>
                      <a:pt x="1185863" y="520853"/>
                    </a:cubicBezTo>
                    <a:cubicBezTo>
                      <a:pt x="1185863" y="529429"/>
                      <a:pt x="1178717" y="536575"/>
                      <a:pt x="1170141" y="536575"/>
                    </a:cubicBezTo>
                    <a:cubicBezTo>
                      <a:pt x="1161566" y="536575"/>
                      <a:pt x="1154419" y="529429"/>
                      <a:pt x="1154419" y="520853"/>
                    </a:cubicBezTo>
                    <a:cubicBezTo>
                      <a:pt x="1154419" y="424378"/>
                      <a:pt x="1075095" y="345054"/>
                      <a:pt x="979335" y="345054"/>
                    </a:cubicBezTo>
                    <a:cubicBezTo>
                      <a:pt x="970045" y="345054"/>
                      <a:pt x="963613" y="338623"/>
                      <a:pt x="963613" y="330047"/>
                    </a:cubicBezTo>
                    <a:cubicBezTo>
                      <a:pt x="963613" y="321471"/>
                      <a:pt x="970045" y="314325"/>
                      <a:pt x="979335" y="314325"/>
                    </a:cubicBezTo>
                    <a:close/>
                    <a:moveTo>
                      <a:pt x="206579" y="314325"/>
                    </a:moveTo>
                    <a:cubicBezTo>
                      <a:pt x="215839" y="314325"/>
                      <a:pt x="222250" y="321471"/>
                      <a:pt x="222250" y="330047"/>
                    </a:cubicBezTo>
                    <a:cubicBezTo>
                      <a:pt x="222250" y="338623"/>
                      <a:pt x="215839" y="345054"/>
                      <a:pt x="206579" y="345054"/>
                    </a:cubicBezTo>
                    <a:cubicBezTo>
                      <a:pt x="110413" y="345054"/>
                      <a:pt x="31343" y="424378"/>
                      <a:pt x="31343" y="520853"/>
                    </a:cubicBezTo>
                    <a:cubicBezTo>
                      <a:pt x="31343" y="529429"/>
                      <a:pt x="24219" y="536575"/>
                      <a:pt x="15671" y="536575"/>
                    </a:cubicBezTo>
                    <a:cubicBezTo>
                      <a:pt x="7123" y="536575"/>
                      <a:pt x="0" y="529429"/>
                      <a:pt x="0" y="520853"/>
                    </a:cubicBezTo>
                    <a:cubicBezTo>
                      <a:pt x="0" y="407227"/>
                      <a:pt x="92604" y="314325"/>
                      <a:pt x="206579" y="314325"/>
                    </a:cubicBezTo>
                    <a:close/>
                    <a:moveTo>
                      <a:pt x="399587" y="0"/>
                    </a:moveTo>
                    <a:cubicBezTo>
                      <a:pt x="462397" y="0"/>
                      <a:pt x="514500" y="51401"/>
                      <a:pt x="514500" y="114937"/>
                    </a:cubicBezTo>
                    <a:cubicBezTo>
                      <a:pt x="514500" y="119221"/>
                      <a:pt x="514500" y="124932"/>
                      <a:pt x="514500" y="129929"/>
                    </a:cubicBezTo>
                    <a:cubicBezTo>
                      <a:pt x="515214" y="154201"/>
                      <a:pt x="515927" y="183471"/>
                      <a:pt x="507363" y="203460"/>
                    </a:cubicBezTo>
                    <a:cubicBezTo>
                      <a:pt x="512359" y="211313"/>
                      <a:pt x="517355" y="219166"/>
                      <a:pt x="521637" y="227732"/>
                    </a:cubicBezTo>
                    <a:cubicBezTo>
                      <a:pt x="538054" y="205602"/>
                      <a:pt x="564462" y="190610"/>
                      <a:pt x="593726" y="190610"/>
                    </a:cubicBezTo>
                    <a:cubicBezTo>
                      <a:pt x="623703" y="190610"/>
                      <a:pt x="649398" y="204888"/>
                      <a:pt x="665814" y="227019"/>
                    </a:cubicBezTo>
                    <a:cubicBezTo>
                      <a:pt x="670096" y="219166"/>
                      <a:pt x="675092" y="210599"/>
                      <a:pt x="680088" y="203460"/>
                    </a:cubicBezTo>
                    <a:cubicBezTo>
                      <a:pt x="670810" y="183471"/>
                      <a:pt x="672237" y="154201"/>
                      <a:pt x="672951" y="129929"/>
                    </a:cubicBezTo>
                    <a:cubicBezTo>
                      <a:pt x="672951" y="124932"/>
                      <a:pt x="672951" y="119221"/>
                      <a:pt x="672951" y="114937"/>
                    </a:cubicBezTo>
                    <a:cubicBezTo>
                      <a:pt x="672951" y="51401"/>
                      <a:pt x="724341" y="0"/>
                      <a:pt x="787864" y="0"/>
                    </a:cubicBezTo>
                    <a:cubicBezTo>
                      <a:pt x="824978" y="0"/>
                      <a:pt x="852814" y="22131"/>
                      <a:pt x="876368" y="42120"/>
                    </a:cubicBezTo>
                    <a:cubicBezTo>
                      <a:pt x="877082" y="42834"/>
                      <a:pt x="919906" y="81384"/>
                      <a:pt x="925616" y="98518"/>
                    </a:cubicBezTo>
                    <a:cubicBezTo>
                      <a:pt x="926330" y="99945"/>
                      <a:pt x="926330" y="101373"/>
                      <a:pt x="926330" y="102801"/>
                    </a:cubicBezTo>
                    <a:cubicBezTo>
                      <a:pt x="979147" y="113509"/>
                      <a:pt x="1026254" y="139923"/>
                      <a:pt x="1059800" y="179188"/>
                    </a:cubicBezTo>
                    <a:cubicBezTo>
                      <a:pt x="1062655" y="182757"/>
                      <a:pt x="1066937" y="187041"/>
                      <a:pt x="1071934" y="192038"/>
                    </a:cubicBezTo>
                    <a:cubicBezTo>
                      <a:pt x="1078357" y="198463"/>
                      <a:pt x="1086208" y="206316"/>
                      <a:pt x="1092632" y="214168"/>
                    </a:cubicBezTo>
                    <a:cubicBezTo>
                      <a:pt x="1109048" y="233444"/>
                      <a:pt x="1121896" y="248435"/>
                      <a:pt x="1131888" y="261286"/>
                    </a:cubicBezTo>
                    <a:cubicBezTo>
                      <a:pt x="1086922" y="236299"/>
                      <a:pt x="1035533" y="220594"/>
                      <a:pt x="979861" y="220594"/>
                    </a:cubicBezTo>
                    <a:cubicBezTo>
                      <a:pt x="826406" y="220594"/>
                      <a:pt x="699360" y="336958"/>
                      <a:pt x="682943" y="486162"/>
                    </a:cubicBezTo>
                    <a:cubicBezTo>
                      <a:pt x="683657" y="490446"/>
                      <a:pt x="683657" y="494729"/>
                      <a:pt x="683657" y="499013"/>
                    </a:cubicBezTo>
                    <a:cubicBezTo>
                      <a:pt x="683657" y="548271"/>
                      <a:pt x="643688" y="588963"/>
                      <a:pt x="593726" y="588963"/>
                    </a:cubicBezTo>
                    <a:cubicBezTo>
                      <a:pt x="544477" y="588963"/>
                      <a:pt x="504508" y="548271"/>
                      <a:pt x="504508" y="499013"/>
                    </a:cubicBezTo>
                    <a:cubicBezTo>
                      <a:pt x="504508" y="495443"/>
                      <a:pt x="504508" y="491873"/>
                      <a:pt x="504508" y="489018"/>
                    </a:cubicBezTo>
                    <a:cubicBezTo>
                      <a:pt x="489519" y="338386"/>
                      <a:pt x="361759" y="220594"/>
                      <a:pt x="206877" y="220594"/>
                    </a:cubicBezTo>
                    <a:cubicBezTo>
                      <a:pt x="151919" y="220594"/>
                      <a:pt x="100529" y="236299"/>
                      <a:pt x="55563" y="261286"/>
                    </a:cubicBezTo>
                    <a:cubicBezTo>
                      <a:pt x="65556" y="248435"/>
                      <a:pt x="78403" y="233444"/>
                      <a:pt x="94105" y="214168"/>
                    </a:cubicBezTo>
                    <a:cubicBezTo>
                      <a:pt x="101243" y="206316"/>
                      <a:pt x="108380" y="198463"/>
                      <a:pt x="115518" y="192038"/>
                    </a:cubicBezTo>
                    <a:cubicBezTo>
                      <a:pt x="119800" y="187041"/>
                      <a:pt x="124796" y="182757"/>
                      <a:pt x="127651" y="179188"/>
                    </a:cubicBezTo>
                    <a:cubicBezTo>
                      <a:pt x="161197" y="139923"/>
                      <a:pt x="208304" y="113509"/>
                      <a:pt x="260407" y="102801"/>
                    </a:cubicBezTo>
                    <a:cubicBezTo>
                      <a:pt x="261121" y="101373"/>
                      <a:pt x="261121" y="99945"/>
                      <a:pt x="261835" y="98518"/>
                    </a:cubicBezTo>
                    <a:cubicBezTo>
                      <a:pt x="267545" y="81384"/>
                      <a:pt x="310369" y="42834"/>
                      <a:pt x="311083" y="42120"/>
                    </a:cubicBezTo>
                    <a:cubicBezTo>
                      <a:pt x="333923" y="22131"/>
                      <a:pt x="362473" y="0"/>
                      <a:pt x="39958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76" name="Freeform 18"/>
          <p:cNvSpPr>
            <a:spLocks/>
          </p:cNvSpPr>
          <p:nvPr/>
        </p:nvSpPr>
        <p:spPr bwMode="auto">
          <a:xfrm>
            <a:off x="7553793" y="2488885"/>
            <a:ext cx="1089720" cy="2158616"/>
          </a:xfrm>
          <a:custGeom>
            <a:avLst/>
            <a:gdLst>
              <a:gd name="T0" fmla="*/ 246 w 268"/>
              <a:gd name="T1" fmla="*/ 715 h 715"/>
              <a:gd name="T2" fmla="*/ 22 w 268"/>
              <a:gd name="T3" fmla="*/ 715 h 715"/>
              <a:gd name="T4" fmla="*/ 0 w 268"/>
              <a:gd name="T5" fmla="*/ 693 h 715"/>
              <a:gd name="T6" fmla="*/ 23 w 268"/>
              <a:gd name="T7" fmla="*/ 21 h 715"/>
              <a:gd name="T8" fmla="*/ 45 w 268"/>
              <a:gd name="T9" fmla="*/ 0 h 715"/>
              <a:gd name="T10" fmla="*/ 223 w 268"/>
              <a:gd name="T11" fmla="*/ 0 h 715"/>
              <a:gd name="T12" fmla="*/ 245 w 268"/>
              <a:gd name="T13" fmla="*/ 21 h 715"/>
              <a:gd name="T14" fmla="*/ 268 w 268"/>
              <a:gd name="T15" fmla="*/ 693 h 715"/>
              <a:gd name="T16" fmla="*/ 246 w 268"/>
              <a:gd name="T17" fmla="*/ 715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8" h="715">
                <a:moveTo>
                  <a:pt x="246" y="715"/>
                </a:moveTo>
                <a:cubicBezTo>
                  <a:pt x="22" y="715"/>
                  <a:pt x="22" y="715"/>
                  <a:pt x="22" y="715"/>
                </a:cubicBezTo>
                <a:cubicBezTo>
                  <a:pt x="10" y="715"/>
                  <a:pt x="0" y="705"/>
                  <a:pt x="0" y="693"/>
                </a:cubicBezTo>
                <a:cubicBezTo>
                  <a:pt x="23" y="21"/>
                  <a:pt x="23" y="21"/>
                  <a:pt x="23" y="21"/>
                </a:cubicBezTo>
                <a:cubicBezTo>
                  <a:pt x="23" y="9"/>
                  <a:pt x="33" y="0"/>
                  <a:pt x="45" y="0"/>
                </a:cubicBezTo>
                <a:cubicBezTo>
                  <a:pt x="223" y="0"/>
                  <a:pt x="223" y="0"/>
                  <a:pt x="223" y="0"/>
                </a:cubicBezTo>
                <a:cubicBezTo>
                  <a:pt x="235" y="0"/>
                  <a:pt x="245" y="9"/>
                  <a:pt x="245" y="21"/>
                </a:cubicBezTo>
                <a:cubicBezTo>
                  <a:pt x="268" y="693"/>
                  <a:pt x="268" y="693"/>
                  <a:pt x="268" y="693"/>
                </a:cubicBezTo>
                <a:cubicBezTo>
                  <a:pt x="268" y="705"/>
                  <a:pt x="258" y="715"/>
                  <a:pt x="246" y="715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146304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l-GR" sz="1400" dirty="0">
                <a:solidFill>
                  <a:srgbClr val="575757"/>
                </a:solidFill>
              </a:rPr>
              <a:t>Έξυπνη αγροτική παραγωγή</a:t>
            </a:r>
            <a:endParaRPr lang="en-US" sz="1400" dirty="0">
              <a:solidFill>
                <a:srgbClr val="575757"/>
              </a:solidFill>
            </a:endParaRPr>
          </a:p>
        </p:txBody>
      </p:sp>
      <p:grpSp>
        <p:nvGrpSpPr>
          <p:cNvPr id="110" name="Group 109"/>
          <p:cNvGrpSpPr>
            <a:grpSpLocks noChangeAspect="1"/>
          </p:cNvGrpSpPr>
          <p:nvPr/>
        </p:nvGrpSpPr>
        <p:grpSpPr>
          <a:xfrm>
            <a:off x="7805745" y="2954859"/>
            <a:ext cx="586358" cy="586358"/>
            <a:chOff x="5273040" y="3298190"/>
            <a:chExt cx="1645920" cy="1645920"/>
          </a:xfrm>
        </p:grpSpPr>
        <p:sp>
          <p:nvSpPr>
            <p:cNvPr id="111" name="AutoShape 14"/>
            <p:cNvSpPr>
              <a:spLocks noChangeAspect="1" noChangeArrowheads="1" noTextEdit="1"/>
            </p:cNvSpPr>
            <p:nvPr/>
          </p:nvSpPr>
          <p:spPr bwMode="auto">
            <a:xfrm>
              <a:off x="5273040" y="329819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5465064" y="3574034"/>
              <a:ext cx="1261872" cy="1092708"/>
              <a:chOff x="5465064" y="3574034"/>
              <a:chExt cx="1261872" cy="1092708"/>
            </a:xfrm>
          </p:grpSpPr>
          <p:sp>
            <p:nvSpPr>
              <p:cNvPr id="113" name="Freeform 112"/>
              <p:cNvSpPr>
                <a:spLocks noChangeArrowheads="1"/>
              </p:cNvSpPr>
              <p:nvPr/>
            </p:nvSpPr>
            <p:spPr bwMode="auto">
              <a:xfrm>
                <a:off x="5465064" y="3574034"/>
                <a:ext cx="1261872" cy="1092708"/>
              </a:xfrm>
              <a:custGeom>
                <a:avLst/>
                <a:gdLst>
                  <a:gd name="connsiteX0" fmla="*/ 4144169 w 5257801"/>
                  <a:gd name="connsiteY0" fmla="*/ 3106738 h 4552950"/>
                  <a:gd name="connsiteX1" fmla="*/ 3575050 w 5257801"/>
                  <a:gd name="connsiteY1" fmla="*/ 3675063 h 4552950"/>
                  <a:gd name="connsiteX2" fmla="*/ 4144169 w 5257801"/>
                  <a:gd name="connsiteY2" fmla="*/ 4243388 h 4552950"/>
                  <a:gd name="connsiteX3" fmla="*/ 4713288 w 5257801"/>
                  <a:gd name="connsiteY3" fmla="*/ 3675063 h 4552950"/>
                  <a:gd name="connsiteX4" fmla="*/ 4144169 w 5257801"/>
                  <a:gd name="connsiteY4" fmla="*/ 3106738 h 4552950"/>
                  <a:gd name="connsiteX5" fmla="*/ 1105695 w 5257801"/>
                  <a:gd name="connsiteY5" fmla="*/ 2717800 h 4552950"/>
                  <a:gd name="connsiteX6" fmla="*/ 379413 w 5257801"/>
                  <a:gd name="connsiteY6" fmla="*/ 3444875 h 4552950"/>
                  <a:gd name="connsiteX7" fmla="*/ 1105695 w 5257801"/>
                  <a:gd name="connsiteY7" fmla="*/ 4171950 h 4552950"/>
                  <a:gd name="connsiteX8" fmla="*/ 1831977 w 5257801"/>
                  <a:gd name="connsiteY8" fmla="*/ 3444875 h 4552950"/>
                  <a:gd name="connsiteX9" fmla="*/ 1105695 w 5257801"/>
                  <a:gd name="connsiteY9" fmla="*/ 2717800 h 4552950"/>
                  <a:gd name="connsiteX10" fmla="*/ 1104900 w 5257801"/>
                  <a:gd name="connsiteY10" fmla="*/ 2336800 h 4552950"/>
                  <a:gd name="connsiteX11" fmla="*/ 2209800 w 5257801"/>
                  <a:gd name="connsiteY11" fmla="*/ 3444875 h 4552950"/>
                  <a:gd name="connsiteX12" fmla="*/ 1104900 w 5257801"/>
                  <a:gd name="connsiteY12" fmla="*/ 4552950 h 4552950"/>
                  <a:gd name="connsiteX13" fmla="*/ 0 w 5257801"/>
                  <a:gd name="connsiteY13" fmla="*/ 3444875 h 4552950"/>
                  <a:gd name="connsiteX14" fmla="*/ 1104900 w 5257801"/>
                  <a:gd name="connsiteY14" fmla="*/ 2336800 h 4552950"/>
                  <a:gd name="connsiteX15" fmla="*/ 2900363 w 5257801"/>
                  <a:gd name="connsiteY15" fmla="*/ 2068513 h 4552950"/>
                  <a:gd name="connsiteX16" fmla="*/ 2900363 w 5257801"/>
                  <a:gd name="connsiteY16" fmla="*/ 2586038 h 4552950"/>
                  <a:gd name="connsiteX17" fmla="*/ 5126038 w 5257801"/>
                  <a:gd name="connsiteY17" fmla="*/ 2586038 h 4552950"/>
                  <a:gd name="connsiteX18" fmla="*/ 5126038 w 5257801"/>
                  <a:gd name="connsiteY18" fmla="*/ 2211279 h 4552950"/>
                  <a:gd name="connsiteX19" fmla="*/ 5126038 w 5257801"/>
                  <a:gd name="connsiteY19" fmla="*/ 2208304 h 4552950"/>
                  <a:gd name="connsiteX20" fmla="*/ 5093308 w 5257801"/>
                  <a:gd name="connsiteY20" fmla="*/ 2068513 h 4552950"/>
                  <a:gd name="connsiteX21" fmla="*/ 2900363 w 5257801"/>
                  <a:gd name="connsiteY21" fmla="*/ 2068513 h 4552950"/>
                  <a:gd name="connsiteX22" fmla="*/ 4268788 w 5257801"/>
                  <a:gd name="connsiteY22" fmla="*/ 1293813 h 4552950"/>
                  <a:gd name="connsiteX23" fmla="*/ 4268788 w 5257801"/>
                  <a:gd name="connsiteY23" fmla="*/ 1666876 h 4552950"/>
                  <a:gd name="connsiteX24" fmla="*/ 4405313 w 5257801"/>
                  <a:gd name="connsiteY24" fmla="*/ 1666876 h 4552950"/>
                  <a:gd name="connsiteX25" fmla="*/ 4405313 w 5257801"/>
                  <a:gd name="connsiteY25" fmla="*/ 1293813 h 4552950"/>
                  <a:gd name="connsiteX26" fmla="*/ 4268788 w 5257801"/>
                  <a:gd name="connsiteY26" fmla="*/ 1293813 h 4552950"/>
                  <a:gd name="connsiteX27" fmla="*/ 2066925 w 5257801"/>
                  <a:gd name="connsiteY27" fmla="*/ 130175 h 4552950"/>
                  <a:gd name="connsiteX28" fmla="*/ 2135359 w 5257801"/>
                  <a:gd name="connsiteY28" fmla="*/ 1666875 h 4552950"/>
                  <a:gd name="connsiteX29" fmla="*/ 3581400 w 5257801"/>
                  <a:gd name="connsiteY29" fmla="*/ 1666875 h 4552950"/>
                  <a:gd name="connsiteX30" fmla="*/ 3132116 w 5257801"/>
                  <a:gd name="connsiteY30" fmla="*/ 130175 h 4552950"/>
                  <a:gd name="connsiteX31" fmla="*/ 2066925 w 5257801"/>
                  <a:gd name="connsiteY31" fmla="*/ 130175 h 4552950"/>
                  <a:gd name="connsiteX32" fmla="*/ 1110478 w 5257801"/>
                  <a:gd name="connsiteY32" fmla="*/ 130175 h 4552950"/>
                  <a:gd name="connsiteX33" fmla="*/ 803879 w 5257801"/>
                  <a:gd name="connsiteY33" fmla="*/ 1746449 h 4552950"/>
                  <a:gd name="connsiteX34" fmla="*/ 738391 w 5257801"/>
                  <a:gd name="connsiteY34" fmla="*/ 1797050 h 4552950"/>
                  <a:gd name="connsiteX35" fmla="*/ 622300 w 5257801"/>
                  <a:gd name="connsiteY35" fmla="*/ 1797050 h 4552950"/>
                  <a:gd name="connsiteX36" fmla="*/ 622300 w 5257801"/>
                  <a:gd name="connsiteY36" fmla="*/ 2002433 h 4552950"/>
                  <a:gd name="connsiteX37" fmla="*/ 1104525 w 5257801"/>
                  <a:gd name="connsiteY37" fmla="*/ 1922066 h 4552950"/>
                  <a:gd name="connsiteX38" fmla="*/ 2622639 w 5257801"/>
                  <a:gd name="connsiteY38" fmla="*/ 3454996 h 4552950"/>
                  <a:gd name="connsiteX39" fmla="*/ 2622639 w 5257801"/>
                  <a:gd name="connsiteY39" fmla="*/ 3487738 h 4552950"/>
                  <a:gd name="connsiteX40" fmla="*/ 3298348 w 5257801"/>
                  <a:gd name="connsiteY40" fmla="*/ 3487738 h 4552950"/>
                  <a:gd name="connsiteX41" fmla="*/ 4143729 w 5257801"/>
                  <a:gd name="connsiteY41" fmla="*/ 2809082 h 4552950"/>
                  <a:gd name="connsiteX42" fmla="*/ 4986134 w 5257801"/>
                  <a:gd name="connsiteY42" fmla="*/ 3487738 h 4552950"/>
                  <a:gd name="connsiteX43" fmla="*/ 5126038 w 5257801"/>
                  <a:gd name="connsiteY43" fmla="*/ 3487738 h 4552950"/>
                  <a:gd name="connsiteX44" fmla="*/ 5126038 w 5257801"/>
                  <a:gd name="connsiteY44" fmla="*/ 2716808 h 4552950"/>
                  <a:gd name="connsiteX45" fmla="*/ 2833984 w 5257801"/>
                  <a:gd name="connsiteY45" fmla="*/ 2716808 h 4552950"/>
                  <a:gd name="connsiteX46" fmla="*/ 2768496 w 5257801"/>
                  <a:gd name="connsiteY46" fmla="*/ 2651324 h 4552950"/>
                  <a:gd name="connsiteX47" fmla="*/ 2768496 w 5257801"/>
                  <a:gd name="connsiteY47" fmla="*/ 2002433 h 4552950"/>
                  <a:gd name="connsiteX48" fmla="*/ 2833984 w 5257801"/>
                  <a:gd name="connsiteY48" fmla="*/ 1936949 h 4552950"/>
                  <a:gd name="connsiteX49" fmla="*/ 5003994 w 5257801"/>
                  <a:gd name="connsiteY49" fmla="*/ 1936949 h 4552950"/>
                  <a:gd name="connsiteX50" fmla="*/ 4724184 w 5257801"/>
                  <a:gd name="connsiteY50" fmla="*/ 1797050 h 4552950"/>
                  <a:gd name="connsiteX51" fmla="*/ 4703348 w 5257801"/>
                  <a:gd name="connsiteY51" fmla="*/ 1797050 h 4552950"/>
                  <a:gd name="connsiteX52" fmla="*/ 4700371 w 5257801"/>
                  <a:gd name="connsiteY52" fmla="*/ 1797050 h 4552950"/>
                  <a:gd name="connsiteX53" fmla="*/ 4471165 w 5257801"/>
                  <a:gd name="connsiteY53" fmla="*/ 1797050 h 4552950"/>
                  <a:gd name="connsiteX54" fmla="*/ 4203263 w 5257801"/>
                  <a:gd name="connsiteY54" fmla="*/ 1797050 h 4552950"/>
                  <a:gd name="connsiteX55" fmla="*/ 3667458 w 5257801"/>
                  <a:gd name="connsiteY55" fmla="*/ 1797050 h 4552950"/>
                  <a:gd name="connsiteX56" fmla="*/ 2068973 w 5257801"/>
                  <a:gd name="connsiteY56" fmla="*/ 1797050 h 4552950"/>
                  <a:gd name="connsiteX57" fmla="*/ 2006463 w 5257801"/>
                  <a:gd name="connsiteY57" fmla="*/ 1734543 h 4552950"/>
                  <a:gd name="connsiteX58" fmla="*/ 1935022 w 5257801"/>
                  <a:gd name="connsiteY58" fmla="*/ 130175 h 4552950"/>
                  <a:gd name="connsiteX59" fmla="*/ 1110478 w 5257801"/>
                  <a:gd name="connsiteY59" fmla="*/ 130175 h 4552950"/>
                  <a:gd name="connsiteX60" fmla="*/ 1057708 w 5257801"/>
                  <a:gd name="connsiteY60" fmla="*/ 0 h 4552950"/>
                  <a:gd name="connsiteX61" fmla="*/ 3183056 w 5257801"/>
                  <a:gd name="connsiteY61" fmla="*/ 0 h 4552950"/>
                  <a:gd name="connsiteX62" fmla="*/ 3245567 w 5257801"/>
                  <a:gd name="connsiteY62" fmla="*/ 47621 h 4552950"/>
                  <a:gd name="connsiteX63" fmla="*/ 3715882 w 5257801"/>
                  <a:gd name="connsiteY63" fmla="*/ 1666730 h 4552950"/>
                  <a:gd name="connsiteX64" fmla="*/ 4138570 w 5257801"/>
                  <a:gd name="connsiteY64" fmla="*/ 1666730 h 4552950"/>
                  <a:gd name="connsiteX65" fmla="*/ 4138570 w 5257801"/>
                  <a:gd name="connsiteY65" fmla="*/ 1229213 h 4552950"/>
                  <a:gd name="connsiteX66" fmla="*/ 4204057 w 5257801"/>
                  <a:gd name="connsiteY66" fmla="*/ 1163735 h 4552950"/>
                  <a:gd name="connsiteX67" fmla="*/ 4471958 w 5257801"/>
                  <a:gd name="connsiteY67" fmla="*/ 1163735 h 4552950"/>
                  <a:gd name="connsiteX68" fmla="*/ 4537445 w 5257801"/>
                  <a:gd name="connsiteY68" fmla="*/ 1229213 h 4552950"/>
                  <a:gd name="connsiteX69" fmla="*/ 4537445 w 5257801"/>
                  <a:gd name="connsiteY69" fmla="*/ 1666730 h 4552950"/>
                  <a:gd name="connsiteX70" fmla="*/ 4698186 w 5257801"/>
                  <a:gd name="connsiteY70" fmla="*/ 1666730 h 4552950"/>
                  <a:gd name="connsiteX71" fmla="*/ 4724976 w 5257801"/>
                  <a:gd name="connsiteY71" fmla="*/ 1666730 h 4552950"/>
                  <a:gd name="connsiteX72" fmla="*/ 5257801 w 5257801"/>
                  <a:gd name="connsiteY72" fmla="*/ 2193535 h 4552950"/>
                  <a:gd name="connsiteX73" fmla="*/ 5257801 w 5257801"/>
                  <a:gd name="connsiteY73" fmla="*/ 2205440 h 4552950"/>
                  <a:gd name="connsiteX74" fmla="*/ 5257801 w 5257801"/>
                  <a:gd name="connsiteY74" fmla="*/ 3553706 h 4552950"/>
                  <a:gd name="connsiteX75" fmla="*/ 5192314 w 5257801"/>
                  <a:gd name="connsiteY75" fmla="*/ 3619184 h 4552950"/>
                  <a:gd name="connsiteX76" fmla="*/ 5004784 w 5257801"/>
                  <a:gd name="connsiteY76" fmla="*/ 3619184 h 4552950"/>
                  <a:gd name="connsiteX77" fmla="*/ 5007760 w 5257801"/>
                  <a:gd name="connsiteY77" fmla="*/ 3675734 h 4552950"/>
                  <a:gd name="connsiteX78" fmla="*/ 4144524 w 5257801"/>
                  <a:gd name="connsiteY78" fmla="*/ 4541838 h 4552950"/>
                  <a:gd name="connsiteX79" fmla="*/ 3281287 w 5257801"/>
                  <a:gd name="connsiteY79" fmla="*/ 3675734 h 4552950"/>
                  <a:gd name="connsiteX80" fmla="*/ 3284264 w 5257801"/>
                  <a:gd name="connsiteY80" fmla="*/ 3619184 h 4552950"/>
                  <a:gd name="connsiteX81" fmla="*/ 2554977 w 5257801"/>
                  <a:gd name="connsiteY81" fmla="*/ 3619184 h 4552950"/>
                  <a:gd name="connsiteX82" fmla="*/ 2507351 w 5257801"/>
                  <a:gd name="connsiteY82" fmla="*/ 3598350 h 4552950"/>
                  <a:gd name="connsiteX83" fmla="*/ 2489490 w 5257801"/>
                  <a:gd name="connsiteY83" fmla="*/ 3550729 h 4552950"/>
                  <a:gd name="connsiteX84" fmla="*/ 2492467 w 5257801"/>
                  <a:gd name="connsiteY84" fmla="*/ 3455488 h 4552950"/>
                  <a:gd name="connsiteX85" fmla="*/ 1105335 w 5257801"/>
                  <a:gd name="connsiteY85" fmla="*/ 2053649 h 4552950"/>
                  <a:gd name="connsiteX86" fmla="*/ 581440 w 5257801"/>
                  <a:gd name="connsiteY86" fmla="*/ 2157820 h 4552950"/>
                  <a:gd name="connsiteX87" fmla="*/ 251029 w 5257801"/>
                  <a:gd name="connsiteY87" fmla="*/ 2351279 h 4552950"/>
                  <a:gd name="connsiteX88" fmla="*/ 209355 w 5257801"/>
                  <a:gd name="connsiteY88" fmla="*/ 2366161 h 4552950"/>
                  <a:gd name="connsiteX89" fmla="*/ 158752 w 5257801"/>
                  <a:gd name="connsiteY89" fmla="*/ 2342350 h 4552950"/>
                  <a:gd name="connsiteX90" fmla="*/ 167682 w 5257801"/>
                  <a:gd name="connsiteY90" fmla="*/ 2250085 h 4552950"/>
                  <a:gd name="connsiteX91" fmla="*/ 492140 w 5257801"/>
                  <a:gd name="connsiteY91" fmla="*/ 2053649 h 4552950"/>
                  <a:gd name="connsiteX92" fmla="*/ 492140 w 5257801"/>
                  <a:gd name="connsiteY92" fmla="*/ 1732208 h 4552950"/>
                  <a:gd name="connsiteX93" fmla="*/ 557626 w 5257801"/>
                  <a:gd name="connsiteY93" fmla="*/ 1666730 h 4552950"/>
                  <a:gd name="connsiteX94" fmla="*/ 685624 w 5257801"/>
                  <a:gd name="connsiteY94" fmla="*/ 1666730 h 4552950"/>
                  <a:gd name="connsiteX95" fmla="*/ 995198 w 5257801"/>
                  <a:gd name="connsiteY95" fmla="*/ 53574 h 4552950"/>
                  <a:gd name="connsiteX96" fmla="*/ 1057708 w 5257801"/>
                  <a:gd name="connsiteY96" fmla="*/ 0 h 455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5257801" h="4552950">
                    <a:moveTo>
                      <a:pt x="4144169" y="3106738"/>
                    </a:moveTo>
                    <a:cubicBezTo>
                      <a:pt x="3829853" y="3106738"/>
                      <a:pt x="3575050" y="3361186"/>
                      <a:pt x="3575050" y="3675063"/>
                    </a:cubicBezTo>
                    <a:cubicBezTo>
                      <a:pt x="3575050" y="3988940"/>
                      <a:pt x="3829853" y="4243388"/>
                      <a:pt x="4144169" y="4243388"/>
                    </a:cubicBezTo>
                    <a:cubicBezTo>
                      <a:pt x="4458485" y="4243388"/>
                      <a:pt x="4713288" y="3988940"/>
                      <a:pt x="4713288" y="3675063"/>
                    </a:cubicBezTo>
                    <a:cubicBezTo>
                      <a:pt x="4713288" y="3361186"/>
                      <a:pt x="4458485" y="3106738"/>
                      <a:pt x="4144169" y="3106738"/>
                    </a:cubicBezTo>
                    <a:close/>
                    <a:moveTo>
                      <a:pt x="1105695" y="2717800"/>
                    </a:moveTo>
                    <a:cubicBezTo>
                      <a:pt x="704581" y="2717800"/>
                      <a:pt x="379413" y="3043323"/>
                      <a:pt x="379413" y="3444875"/>
                    </a:cubicBezTo>
                    <a:cubicBezTo>
                      <a:pt x="379413" y="3846427"/>
                      <a:pt x="704581" y="4171950"/>
                      <a:pt x="1105695" y="4171950"/>
                    </a:cubicBezTo>
                    <a:cubicBezTo>
                      <a:pt x="1506809" y="4171950"/>
                      <a:pt x="1831977" y="3846427"/>
                      <a:pt x="1831977" y="3444875"/>
                    </a:cubicBezTo>
                    <a:cubicBezTo>
                      <a:pt x="1831977" y="3043323"/>
                      <a:pt x="1506809" y="2717800"/>
                      <a:pt x="1105695" y="2717800"/>
                    </a:cubicBezTo>
                    <a:close/>
                    <a:moveTo>
                      <a:pt x="1104900" y="2336800"/>
                    </a:moveTo>
                    <a:cubicBezTo>
                      <a:pt x="1715119" y="2336800"/>
                      <a:pt x="2209800" y="2832902"/>
                      <a:pt x="2209800" y="3444875"/>
                    </a:cubicBezTo>
                    <a:cubicBezTo>
                      <a:pt x="2209800" y="4056848"/>
                      <a:pt x="1715119" y="4552950"/>
                      <a:pt x="1104900" y="4552950"/>
                    </a:cubicBezTo>
                    <a:cubicBezTo>
                      <a:pt x="494681" y="4552950"/>
                      <a:pt x="0" y="4056848"/>
                      <a:pt x="0" y="3444875"/>
                    </a:cubicBezTo>
                    <a:cubicBezTo>
                      <a:pt x="0" y="2832902"/>
                      <a:pt x="494681" y="2336800"/>
                      <a:pt x="1104900" y="2336800"/>
                    </a:cubicBezTo>
                    <a:close/>
                    <a:moveTo>
                      <a:pt x="2900363" y="2068513"/>
                    </a:moveTo>
                    <a:cubicBezTo>
                      <a:pt x="2900363" y="2068513"/>
                      <a:pt x="2900363" y="2068513"/>
                      <a:pt x="2900363" y="2586038"/>
                    </a:cubicBezTo>
                    <a:cubicBezTo>
                      <a:pt x="2900363" y="2586038"/>
                      <a:pt x="2900363" y="2586038"/>
                      <a:pt x="5126038" y="2586038"/>
                    </a:cubicBezTo>
                    <a:cubicBezTo>
                      <a:pt x="5126038" y="2586038"/>
                      <a:pt x="5126038" y="2586038"/>
                      <a:pt x="5126038" y="2211279"/>
                    </a:cubicBezTo>
                    <a:cubicBezTo>
                      <a:pt x="5126038" y="2211279"/>
                      <a:pt x="5126038" y="2211279"/>
                      <a:pt x="5126038" y="2208304"/>
                    </a:cubicBezTo>
                    <a:cubicBezTo>
                      <a:pt x="5123062" y="2157742"/>
                      <a:pt x="5111160" y="2110153"/>
                      <a:pt x="5093308" y="2068513"/>
                    </a:cubicBezTo>
                    <a:cubicBezTo>
                      <a:pt x="5093308" y="2068513"/>
                      <a:pt x="5093308" y="2068513"/>
                      <a:pt x="2900363" y="2068513"/>
                    </a:cubicBezTo>
                    <a:close/>
                    <a:moveTo>
                      <a:pt x="4268788" y="1293813"/>
                    </a:moveTo>
                    <a:cubicBezTo>
                      <a:pt x="4268788" y="1293813"/>
                      <a:pt x="4268788" y="1293813"/>
                      <a:pt x="4268788" y="1666876"/>
                    </a:cubicBezTo>
                    <a:cubicBezTo>
                      <a:pt x="4268788" y="1666876"/>
                      <a:pt x="4268788" y="1666876"/>
                      <a:pt x="4405313" y="1666876"/>
                    </a:cubicBezTo>
                    <a:cubicBezTo>
                      <a:pt x="4405313" y="1666876"/>
                      <a:pt x="4405313" y="1666876"/>
                      <a:pt x="4405313" y="1293813"/>
                    </a:cubicBezTo>
                    <a:cubicBezTo>
                      <a:pt x="4405313" y="1293813"/>
                      <a:pt x="4405313" y="1293813"/>
                      <a:pt x="4268788" y="1293813"/>
                    </a:cubicBezTo>
                    <a:close/>
                    <a:moveTo>
                      <a:pt x="2066925" y="130175"/>
                    </a:moveTo>
                    <a:cubicBezTo>
                      <a:pt x="2066925" y="130175"/>
                      <a:pt x="2066925" y="130175"/>
                      <a:pt x="2135359" y="1666875"/>
                    </a:cubicBezTo>
                    <a:cubicBezTo>
                      <a:pt x="2135359" y="1666875"/>
                      <a:pt x="2135359" y="1666875"/>
                      <a:pt x="3581400" y="1666875"/>
                    </a:cubicBezTo>
                    <a:cubicBezTo>
                      <a:pt x="3581400" y="1666875"/>
                      <a:pt x="3581400" y="1666875"/>
                      <a:pt x="3132116" y="130175"/>
                    </a:cubicBezTo>
                    <a:cubicBezTo>
                      <a:pt x="3132116" y="130175"/>
                      <a:pt x="3132116" y="130175"/>
                      <a:pt x="2066925" y="130175"/>
                    </a:cubicBezTo>
                    <a:close/>
                    <a:moveTo>
                      <a:pt x="1110478" y="130175"/>
                    </a:moveTo>
                    <a:cubicBezTo>
                      <a:pt x="1110478" y="130175"/>
                      <a:pt x="1110478" y="130175"/>
                      <a:pt x="803879" y="1746449"/>
                    </a:cubicBezTo>
                    <a:cubicBezTo>
                      <a:pt x="797925" y="1776214"/>
                      <a:pt x="771135" y="1797050"/>
                      <a:pt x="738391" y="1797050"/>
                    </a:cubicBezTo>
                    <a:cubicBezTo>
                      <a:pt x="738391" y="1797050"/>
                      <a:pt x="738391" y="1797050"/>
                      <a:pt x="622300" y="1797050"/>
                    </a:cubicBezTo>
                    <a:cubicBezTo>
                      <a:pt x="622300" y="1797050"/>
                      <a:pt x="622300" y="1797050"/>
                      <a:pt x="622300" y="2002433"/>
                    </a:cubicBezTo>
                    <a:cubicBezTo>
                      <a:pt x="777088" y="1948855"/>
                      <a:pt x="940806" y="1922066"/>
                      <a:pt x="1104525" y="1922066"/>
                    </a:cubicBezTo>
                    <a:cubicBezTo>
                      <a:pt x="1940976" y="1922066"/>
                      <a:pt x="2622639" y="2615605"/>
                      <a:pt x="2622639" y="3454996"/>
                    </a:cubicBezTo>
                    <a:cubicBezTo>
                      <a:pt x="2622639" y="3466902"/>
                      <a:pt x="2622639" y="3475832"/>
                      <a:pt x="2622639" y="3487738"/>
                    </a:cubicBezTo>
                    <a:cubicBezTo>
                      <a:pt x="2622639" y="3487738"/>
                      <a:pt x="2622639" y="3487738"/>
                      <a:pt x="3298348" y="3487738"/>
                    </a:cubicBezTo>
                    <a:cubicBezTo>
                      <a:pt x="3384672" y="3100785"/>
                      <a:pt x="3729969" y="2809082"/>
                      <a:pt x="4143729" y="2809082"/>
                    </a:cubicBezTo>
                    <a:cubicBezTo>
                      <a:pt x="4557490" y="2809082"/>
                      <a:pt x="4899810" y="3100785"/>
                      <a:pt x="4986134" y="3487738"/>
                    </a:cubicBezTo>
                    <a:cubicBezTo>
                      <a:pt x="4986134" y="3487738"/>
                      <a:pt x="4986134" y="3487738"/>
                      <a:pt x="5126038" y="3487738"/>
                    </a:cubicBezTo>
                    <a:cubicBezTo>
                      <a:pt x="5126038" y="3487738"/>
                      <a:pt x="5126038" y="3487738"/>
                      <a:pt x="5126038" y="2716808"/>
                    </a:cubicBezTo>
                    <a:cubicBezTo>
                      <a:pt x="5126038" y="2716808"/>
                      <a:pt x="5126038" y="2716808"/>
                      <a:pt x="2833984" y="2716808"/>
                    </a:cubicBezTo>
                    <a:cubicBezTo>
                      <a:pt x="2798263" y="2716808"/>
                      <a:pt x="2768496" y="2687043"/>
                      <a:pt x="2768496" y="2651324"/>
                    </a:cubicBezTo>
                    <a:cubicBezTo>
                      <a:pt x="2768496" y="2651324"/>
                      <a:pt x="2768496" y="2651324"/>
                      <a:pt x="2768496" y="2002433"/>
                    </a:cubicBezTo>
                    <a:cubicBezTo>
                      <a:pt x="2768496" y="1966715"/>
                      <a:pt x="2798263" y="1936949"/>
                      <a:pt x="2833984" y="1936949"/>
                    </a:cubicBezTo>
                    <a:cubicBezTo>
                      <a:pt x="2833984" y="1936949"/>
                      <a:pt x="2833984" y="1936949"/>
                      <a:pt x="5003994" y="1936949"/>
                    </a:cubicBezTo>
                    <a:cubicBezTo>
                      <a:pt x="4932553" y="1865511"/>
                      <a:pt x="4831346" y="1797050"/>
                      <a:pt x="4724184" y="1797050"/>
                    </a:cubicBezTo>
                    <a:cubicBezTo>
                      <a:pt x="4718231" y="1797050"/>
                      <a:pt x="4709301" y="1797050"/>
                      <a:pt x="4703348" y="1797050"/>
                    </a:cubicBezTo>
                    <a:cubicBezTo>
                      <a:pt x="4700371" y="1797050"/>
                      <a:pt x="4700371" y="1797050"/>
                      <a:pt x="4700371" y="1797050"/>
                    </a:cubicBezTo>
                    <a:cubicBezTo>
                      <a:pt x="4700371" y="1797050"/>
                      <a:pt x="4700371" y="1797050"/>
                      <a:pt x="4471165" y="1797050"/>
                    </a:cubicBezTo>
                    <a:cubicBezTo>
                      <a:pt x="4471165" y="1797050"/>
                      <a:pt x="4471165" y="1797050"/>
                      <a:pt x="4203263" y="1797050"/>
                    </a:cubicBezTo>
                    <a:cubicBezTo>
                      <a:pt x="4203263" y="1797050"/>
                      <a:pt x="4203263" y="1797050"/>
                      <a:pt x="3667458" y="1797050"/>
                    </a:cubicBezTo>
                    <a:cubicBezTo>
                      <a:pt x="3667458" y="1797050"/>
                      <a:pt x="3667458" y="1797050"/>
                      <a:pt x="2068973" y="1797050"/>
                    </a:cubicBezTo>
                    <a:cubicBezTo>
                      <a:pt x="2036230" y="1797050"/>
                      <a:pt x="2006463" y="1770261"/>
                      <a:pt x="2006463" y="1734543"/>
                    </a:cubicBezTo>
                    <a:cubicBezTo>
                      <a:pt x="2006463" y="1734543"/>
                      <a:pt x="2006463" y="1734543"/>
                      <a:pt x="1935022" y="130175"/>
                    </a:cubicBezTo>
                    <a:cubicBezTo>
                      <a:pt x="1935022" y="130175"/>
                      <a:pt x="1935022" y="130175"/>
                      <a:pt x="1110478" y="130175"/>
                    </a:cubicBezTo>
                    <a:close/>
                    <a:moveTo>
                      <a:pt x="1057708" y="0"/>
                    </a:moveTo>
                    <a:cubicBezTo>
                      <a:pt x="1057708" y="0"/>
                      <a:pt x="1057708" y="0"/>
                      <a:pt x="3183056" y="0"/>
                    </a:cubicBezTo>
                    <a:cubicBezTo>
                      <a:pt x="3212823" y="0"/>
                      <a:pt x="3236637" y="20834"/>
                      <a:pt x="3245567" y="47621"/>
                    </a:cubicBezTo>
                    <a:cubicBezTo>
                      <a:pt x="3245567" y="47621"/>
                      <a:pt x="3245567" y="47621"/>
                      <a:pt x="3715882" y="1666730"/>
                    </a:cubicBezTo>
                    <a:cubicBezTo>
                      <a:pt x="3715882" y="1666730"/>
                      <a:pt x="3715882" y="1666730"/>
                      <a:pt x="4138570" y="1666730"/>
                    </a:cubicBezTo>
                    <a:cubicBezTo>
                      <a:pt x="4138570" y="1666730"/>
                      <a:pt x="4138570" y="1666730"/>
                      <a:pt x="4138570" y="1229213"/>
                    </a:cubicBezTo>
                    <a:cubicBezTo>
                      <a:pt x="4138570" y="1193498"/>
                      <a:pt x="4168337" y="1163735"/>
                      <a:pt x="4204057" y="1163735"/>
                    </a:cubicBezTo>
                    <a:cubicBezTo>
                      <a:pt x="4204057" y="1163735"/>
                      <a:pt x="4204057" y="1163735"/>
                      <a:pt x="4471958" y="1163735"/>
                    </a:cubicBezTo>
                    <a:cubicBezTo>
                      <a:pt x="4510655" y="1163735"/>
                      <a:pt x="4537445" y="1193498"/>
                      <a:pt x="4537445" y="1229213"/>
                    </a:cubicBezTo>
                    <a:cubicBezTo>
                      <a:pt x="4537445" y="1229213"/>
                      <a:pt x="4537445" y="1229213"/>
                      <a:pt x="4537445" y="1666730"/>
                    </a:cubicBezTo>
                    <a:cubicBezTo>
                      <a:pt x="4537445" y="1666730"/>
                      <a:pt x="4537445" y="1666730"/>
                      <a:pt x="4698186" y="1666730"/>
                    </a:cubicBezTo>
                    <a:cubicBezTo>
                      <a:pt x="4707116" y="1666730"/>
                      <a:pt x="4716046" y="1666730"/>
                      <a:pt x="4724976" y="1666730"/>
                    </a:cubicBezTo>
                    <a:cubicBezTo>
                      <a:pt x="5007760" y="1666730"/>
                      <a:pt x="5239941" y="1910787"/>
                      <a:pt x="5257801" y="2193535"/>
                    </a:cubicBezTo>
                    <a:cubicBezTo>
                      <a:pt x="5257801" y="2196512"/>
                      <a:pt x="5257801" y="2199488"/>
                      <a:pt x="5257801" y="2205440"/>
                    </a:cubicBezTo>
                    <a:cubicBezTo>
                      <a:pt x="5257801" y="2205440"/>
                      <a:pt x="5257801" y="2205440"/>
                      <a:pt x="5257801" y="3553706"/>
                    </a:cubicBezTo>
                    <a:cubicBezTo>
                      <a:pt x="5257801" y="3589421"/>
                      <a:pt x="5228034" y="3619184"/>
                      <a:pt x="5192314" y="3619184"/>
                    </a:cubicBezTo>
                    <a:cubicBezTo>
                      <a:pt x="5192314" y="3619184"/>
                      <a:pt x="5192314" y="3619184"/>
                      <a:pt x="5004784" y="3619184"/>
                    </a:cubicBezTo>
                    <a:cubicBezTo>
                      <a:pt x="5007760" y="3640018"/>
                      <a:pt x="5007760" y="3657876"/>
                      <a:pt x="5007760" y="3675734"/>
                    </a:cubicBezTo>
                    <a:cubicBezTo>
                      <a:pt x="5007760" y="4154919"/>
                      <a:pt x="4623769" y="4541838"/>
                      <a:pt x="4144524" y="4541838"/>
                    </a:cubicBezTo>
                    <a:cubicBezTo>
                      <a:pt x="3668255" y="4541838"/>
                      <a:pt x="3281287" y="4154919"/>
                      <a:pt x="3281287" y="3675734"/>
                    </a:cubicBezTo>
                    <a:cubicBezTo>
                      <a:pt x="3281287" y="3657876"/>
                      <a:pt x="3284264" y="3640018"/>
                      <a:pt x="3284264" y="3619184"/>
                    </a:cubicBezTo>
                    <a:cubicBezTo>
                      <a:pt x="3284264" y="3619184"/>
                      <a:pt x="3284264" y="3619184"/>
                      <a:pt x="2554977" y="3619184"/>
                    </a:cubicBezTo>
                    <a:cubicBezTo>
                      <a:pt x="2537117" y="3619184"/>
                      <a:pt x="2519257" y="3613232"/>
                      <a:pt x="2507351" y="3598350"/>
                    </a:cubicBezTo>
                    <a:cubicBezTo>
                      <a:pt x="2492467" y="3586445"/>
                      <a:pt x="2486514" y="3568587"/>
                      <a:pt x="2489490" y="3550729"/>
                    </a:cubicBezTo>
                    <a:cubicBezTo>
                      <a:pt x="2489490" y="3517990"/>
                      <a:pt x="2492467" y="3485251"/>
                      <a:pt x="2492467" y="3455488"/>
                    </a:cubicBezTo>
                    <a:cubicBezTo>
                      <a:pt x="2492467" y="2690578"/>
                      <a:pt x="1870342" y="2053649"/>
                      <a:pt x="1105335" y="2053649"/>
                    </a:cubicBezTo>
                    <a:cubicBezTo>
                      <a:pt x="923758" y="2053649"/>
                      <a:pt x="748134" y="2089365"/>
                      <a:pt x="581440" y="2157820"/>
                    </a:cubicBezTo>
                    <a:cubicBezTo>
                      <a:pt x="462373" y="2205440"/>
                      <a:pt x="349259" y="2270919"/>
                      <a:pt x="251029" y="2351279"/>
                    </a:cubicBezTo>
                    <a:cubicBezTo>
                      <a:pt x="239122" y="2360208"/>
                      <a:pt x="224238" y="2366161"/>
                      <a:pt x="209355" y="2366161"/>
                    </a:cubicBezTo>
                    <a:cubicBezTo>
                      <a:pt x="191495" y="2366161"/>
                      <a:pt x="170658" y="2357232"/>
                      <a:pt x="158752" y="2342350"/>
                    </a:cubicBezTo>
                    <a:cubicBezTo>
                      <a:pt x="134938" y="2312587"/>
                      <a:pt x="140891" y="2270919"/>
                      <a:pt x="167682" y="2250085"/>
                    </a:cubicBezTo>
                    <a:cubicBezTo>
                      <a:pt x="268889" y="2169725"/>
                      <a:pt x="376049" y="2104246"/>
                      <a:pt x="492140" y="2053649"/>
                    </a:cubicBezTo>
                    <a:cubicBezTo>
                      <a:pt x="492140" y="2053649"/>
                      <a:pt x="492140" y="2053649"/>
                      <a:pt x="492140" y="1732208"/>
                    </a:cubicBezTo>
                    <a:cubicBezTo>
                      <a:pt x="492140" y="1696493"/>
                      <a:pt x="521906" y="1666730"/>
                      <a:pt x="557626" y="1666730"/>
                    </a:cubicBezTo>
                    <a:cubicBezTo>
                      <a:pt x="557626" y="1666730"/>
                      <a:pt x="557626" y="1666730"/>
                      <a:pt x="685624" y="1666730"/>
                    </a:cubicBezTo>
                    <a:cubicBezTo>
                      <a:pt x="685624" y="1666730"/>
                      <a:pt x="685624" y="1666730"/>
                      <a:pt x="995198" y="53574"/>
                    </a:cubicBezTo>
                    <a:cubicBezTo>
                      <a:pt x="1001152" y="23811"/>
                      <a:pt x="1027942" y="0"/>
                      <a:pt x="105770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14" name="Freeform 23"/>
              <p:cNvSpPr>
                <a:spLocks noEditPoints="1"/>
              </p:cNvSpPr>
              <p:nvPr/>
            </p:nvSpPr>
            <p:spPr bwMode="auto">
              <a:xfrm>
                <a:off x="5585079" y="3638042"/>
                <a:ext cx="980313" cy="923925"/>
              </a:xfrm>
              <a:custGeom>
                <a:avLst/>
                <a:gdLst>
                  <a:gd name="T0" fmla="*/ 1224 w 1372"/>
                  <a:gd name="T1" fmla="*/ 997 h 1293"/>
                  <a:gd name="T2" fmla="*/ 1372 w 1372"/>
                  <a:gd name="T3" fmla="*/ 1145 h 1293"/>
                  <a:gd name="T4" fmla="*/ 1224 w 1372"/>
                  <a:gd name="T5" fmla="*/ 1293 h 1293"/>
                  <a:gd name="T6" fmla="*/ 1076 w 1372"/>
                  <a:gd name="T7" fmla="*/ 1145 h 1293"/>
                  <a:gd name="T8" fmla="*/ 1224 w 1372"/>
                  <a:gd name="T9" fmla="*/ 997 h 1293"/>
                  <a:gd name="T10" fmla="*/ 202 w 1372"/>
                  <a:gd name="T11" fmla="*/ 866 h 1293"/>
                  <a:gd name="T12" fmla="*/ 403 w 1372"/>
                  <a:gd name="T13" fmla="*/ 1067 h 1293"/>
                  <a:gd name="T14" fmla="*/ 202 w 1372"/>
                  <a:gd name="T15" fmla="*/ 1268 h 1293"/>
                  <a:gd name="T16" fmla="*/ 0 w 1372"/>
                  <a:gd name="T17" fmla="*/ 1067 h 1293"/>
                  <a:gd name="T18" fmla="*/ 202 w 1372"/>
                  <a:gd name="T19" fmla="*/ 866 h 1293"/>
                  <a:gd name="T20" fmla="*/ 572 w 1372"/>
                  <a:gd name="T21" fmla="*/ 0 h 1293"/>
                  <a:gd name="T22" fmla="*/ 852 w 1372"/>
                  <a:gd name="T23" fmla="*/ 0 h 1293"/>
                  <a:gd name="T24" fmla="*/ 976 w 1372"/>
                  <a:gd name="T25" fmla="*/ 426 h 1293"/>
                  <a:gd name="T26" fmla="*/ 592 w 1372"/>
                  <a:gd name="T27" fmla="*/ 426 h 1293"/>
                  <a:gd name="T28" fmla="*/ 572 w 1372"/>
                  <a:gd name="T29" fmla="*/ 0 h 1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72" h="1293">
                    <a:moveTo>
                      <a:pt x="1224" y="997"/>
                    </a:moveTo>
                    <a:cubicBezTo>
                      <a:pt x="1306" y="997"/>
                      <a:pt x="1372" y="1063"/>
                      <a:pt x="1372" y="1145"/>
                    </a:cubicBezTo>
                    <a:cubicBezTo>
                      <a:pt x="1372" y="1226"/>
                      <a:pt x="1306" y="1293"/>
                      <a:pt x="1224" y="1293"/>
                    </a:cubicBezTo>
                    <a:cubicBezTo>
                      <a:pt x="1143" y="1293"/>
                      <a:pt x="1076" y="1226"/>
                      <a:pt x="1076" y="1145"/>
                    </a:cubicBezTo>
                    <a:cubicBezTo>
                      <a:pt x="1076" y="1063"/>
                      <a:pt x="1143" y="997"/>
                      <a:pt x="1224" y="997"/>
                    </a:cubicBezTo>
                    <a:close/>
                    <a:moveTo>
                      <a:pt x="202" y="866"/>
                    </a:moveTo>
                    <a:cubicBezTo>
                      <a:pt x="313" y="866"/>
                      <a:pt x="403" y="956"/>
                      <a:pt x="403" y="1067"/>
                    </a:cubicBezTo>
                    <a:cubicBezTo>
                      <a:pt x="403" y="1178"/>
                      <a:pt x="313" y="1268"/>
                      <a:pt x="202" y="1268"/>
                    </a:cubicBezTo>
                    <a:cubicBezTo>
                      <a:pt x="90" y="1268"/>
                      <a:pt x="0" y="1178"/>
                      <a:pt x="0" y="1067"/>
                    </a:cubicBezTo>
                    <a:cubicBezTo>
                      <a:pt x="0" y="956"/>
                      <a:pt x="90" y="866"/>
                      <a:pt x="202" y="866"/>
                    </a:cubicBezTo>
                    <a:close/>
                    <a:moveTo>
                      <a:pt x="572" y="0"/>
                    </a:moveTo>
                    <a:cubicBezTo>
                      <a:pt x="852" y="0"/>
                      <a:pt x="852" y="0"/>
                      <a:pt x="852" y="0"/>
                    </a:cubicBezTo>
                    <a:cubicBezTo>
                      <a:pt x="976" y="426"/>
                      <a:pt x="976" y="426"/>
                      <a:pt x="976" y="426"/>
                    </a:cubicBezTo>
                    <a:cubicBezTo>
                      <a:pt x="592" y="426"/>
                      <a:pt x="592" y="426"/>
                      <a:pt x="592" y="426"/>
                    </a:cubicBezTo>
                    <a:cubicBezTo>
                      <a:pt x="572" y="0"/>
                      <a:pt x="572" y="0"/>
                      <a:pt x="57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1" name="Rectangle 10"/>
          <p:cNvSpPr/>
          <p:nvPr/>
        </p:nvSpPr>
        <p:spPr>
          <a:xfrm>
            <a:off x="5172094" y="4710010"/>
            <a:ext cx="5853118" cy="334242"/>
          </a:xfrm>
          <a:prstGeom prst="rect">
            <a:avLst/>
          </a:prstGeom>
          <a:solidFill>
            <a:srgbClr val="E2E2E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l-GR" sz="1400" dirty="0">
                <a:solidFill>
                  <a:srgbClr val="575757"/>
                </a:solidFill>
              </a:rPr>
              <a:t>Φυσικές και ψηφιακές υποδομές</a:t>
            </a:r>
            <a:endParaRPr lang="en-US" sz="1400" dirty="0">
              <a:solidFill>
                <a:srgbClr val="575757"/>
              </a:solidFill>
            </a:endParaRPr>
          </a:p>
        </p:txBody>
      </p:sp>
      <p:grpSp>
        <p:nvGrpSpPr>
          <p:cNvPr id="93" name="bcgIcons_Network">
            <a:extLst>
              <a:ext uri="{FF2B5EF4-FFF2-40B4-BE49-F238E27FC236}">
                <a16:creationId xmlns:a16="http://schemas.microsoft.com/office/drawing/2014/main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20436" y="4688166"/>
            <a:ext cx="393655" cy="394021"/>
            <a:chOff x="1682" y="0"/>
            <a:chExt cx="4316" cy="4320"/>
          </a:xfrm>
        </p:grpSpPr>
        <p:sp>
          <p:nvSpPr>
            <p:cNvPr id="94" name="AutoShape 24">
              <a:extLst>
                <a:ext uri="{FF2B5EF4-FFF2-40B4-BE49-F238E27FC236}">
                  <a16:creationId xmlns:a16="http://schemas.microsoft.com/office/drawing/2014/main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26">
              <a:extLst>
                <a:ext uri="{FF2B5EF4-FFF2-40B4-BE49-F238E27FC236}">
                  <a16:creationId xmlns:a16="http://schemas.microsoft.com/office/drawing/2014/main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626"/>
              <a:ext cx="2630" cy="30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27">
              <a:extLst>
                <a:ext uri="{FF2B5EF4-FFF2-40B4-BE49-F238E27FC236}">
                  <a16:creationId xmlns:a16="http://schemas.microsoft.com/office/drawing/2014/main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441"/>
              <a:ext cx="2960" cy="3437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" name="Oval 20"/>
          <p:cNvSpPr>
            <a:spLocks noChangeAspect="1" noChangeArrowheads="1"/>
          </p:cNvSpPr>
          <p:nvPr/>
        </p:nvSpPr>
        <p:spPr bwMode="auto">
          <a:xfrm>
            <a:off x="5552603" y="2368515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5" name="Oval 20"/>
          <p:cNvSpPr>
            <a:spLocks noChangeAspect="1" noChangeArrowheads="1"/>
          </p:cNvSpPr>
          <p:nvPr/>
        </p:nvSpPr>
        <p:spPr bwMode="auto">
          <a:xfrm>
            <a:off x="6748901" y="2368515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Oval 20"/>
          <p:cNvSpPr>
            <a:spLocks noChangeAspect="1" noChangeArrowheads="1"/>
          </p:cNvSpPr>
          <p:nvPr/>
        </p:nvSpPr>
        <p:spPr bwMode="auto">
          <a:xfrm>
            <a:off x="7945197" y="2368515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8" name="Oval 20"/>
          <p:cNvSpPr>
            <a:spLocks noChangeAspect="1" noChangeArrowheads="1"/>
          </p:cNvSpPr>
          <p:nvPr/>
        </p:nvSpPr>
        <p:spPr bwMode="auto">
          <a:xfrm>
            <a:off x="9141495" y="2368515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9" name="Oval 20"/>
          <p:cNvSpPr>
            <a:spLocks noChangeAspect="1" noChangeArrowheads="1"/>
          </p:cNvSpPr>
          <p:nvPr/>
        </p:nvSpPr>
        <p:spPr bwMode="auto">
          <a:xfrm>
            <a:off x="10337792" y="2368515"/>
            <a:ext cx="306910" cy="3069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5</a:t>
            </a:r>
          </a:p>
        </p:txBody>
      </p:sp>
      <p:grpSp>
        <p:nvGrpSpPr>
          <p:cNvPr id="97" name="Group 96"/>
          <p:cNvGrpSpPr>
            <a:grpSpLocks noChangeAspect="1"/>
          </p:cNvGrpSpPr>
          <p:nvPr/>
        </p:nvGrpSpPr>
        <p:grpSpPr>
          <a:xfrm>
            <a:off x="5726851" y="5907996"/>
            <a:ext cx="440540" cy="440540"/>
            <a:chOff x="2663826" y="-3175"/>
            <a:chExt cx="6858000" cy="6858000"/>
          </a:xfrm>
        </p:grpSpPr>
        <p:sp>
          <p:nvSpPr>
            <p:cNvPr id="98" name="AutoShape 21"/>
            <p:cNvSpPr>
              <a:spLocks noChangeAspect="1" noChangeArrowheads="1" noTextEdit="1"/>
            </p:cNvSpPr>
            <p:nvPr/>
          </p:nvSpPr>
          <p:spPr bwMode="auto">
            <a:xfrm>
              <a:off x="2663826" y="-3175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9" name="Group 98"/>
            <p:cNvGrpSpPr/>
            <p:nvPr/>
          </p:nvGrpSpPr>
          <p:grpSpPr>
            <a:xfrm>
              <a:off x="3797301" y="1143000"/>
              <a:ext cx="4591050" cy="4565650"/>
              <a:chOff x="3797300" y="1143000"/>
              <a:chExt cx="4591051" cy="4565650"/>
            </a:xfrm>
          </p:grpSpPr>
          <p:sp>
            <p:nvSpPr>
              <p:cNvPr id="100" name="Freeform 99"/>
              <p:cNvSpPr>
                <a:spLocks/>
              </p:cNvSpPr>
              <p:nvPr/>
            </p:nvSpPr>
            <p:spPr bwMode="auto">
              <a:xfrm>
                <a:off x="3797300" y="1143000"/>
                <a:ext cx="4591051" cy="4565650"/>
              </a:xfrm>
              <a:custGeom>
                <a:avLst/>
                <a:gdLst>
                  <a:gd name="connsiteX0" fmla="*/ 4164807 w 4591051"/>
                  <a:gd name="connsiteY0" fmla="*/ 3848100 h 4565650"/>
                  <a:gd name="connsiteX1" fmla="*/ 3873500 w 4591051"/>
                  <a:gd name="connsiteY1" fmla="*/ 4143375 h 4565650"/>
                  <a:gd name="connsiteX2" fmla="*/ 4164807 w 4591051"/>
                  <a:gd name="connsiteY2" fmla="*/ 4438650 h 4565650"/>
                  <a:gd name="connsiteX3" fmla="*/ 4456114 w 4591051"/>
                  <a:gd name="connsiteY3" fmla="*/ 4143375 h 4565650"/>
                  <a:gd name="connsiteX4" fmla="*/ 4164807 w 4591051"/>
                  <a:gd name="connsiteY4" fmla="*/ 3848100 h 4565650"/>
                  <a:gd name="connsiteX5" fmla="*/ 419895 w 4591051"/>
                  <a:gd name="connsiteY5" fmla="*/ 3848100 h 4565650"/>
                  <a:gd name="connsiteX6" fmla="*/ 122238 w 4591051"/>
                  <a:gd name="connsiteY6" fmla="*/ 4143375 h 4565650"/>
                  <a:gd name="connsiteX7" fmla="*/ 419895 w 4591051"/>
                  <a:gd name="connsiteY7" fmla="*/ 4438650 h 4565650"/>
                  <a:gd name="connsiteX8" fmla="*/ 717552 w 4591051"/>
                  <a:gd name="connsiteY8" fmla="*/ 4143375 h 4565650"/>
                  <a:gd name="connsiteX9" fmla="*/ 419895 w 4591051"/>
                  <a:gd name="connsiteY9" fmla="*/ 3848100 h 4565650"/>
                  <a:gd name="connsiteX10" fmla="*/ 4168378 w 4591051"/>
                  <a:gd name="connsiteY10" fmla="*/ 3721100 h 4565650"/>
                  <a:gd name="connsiteX11" fmla="*/ 4591050 w 4591051"/>
                  <a:gd name="connsiteY11" fmla="*/ 4143375 h 4565650"/>
                  <a:gd name="connsiteX12" fmla="*/ 4168378 w 4591051"/>
                  <a:gd name="connsiteY12" fmla="*/ 4565650 h 4565650"/>
                  <a:gd name="connsiteX13" fmla="*/ 3751660 w 4591051"/>
                  <a:gd name="connsiteY13" fmla="*/ 4211772 h 4565650"/>
                  <a:gd name="connsiteX14" fmla="*/ 1230511 w 4591051"/>
                  <a:gd name="connsiteY14" fmla="*/ 4211772 h 4565650"/>
                  <a:gd name="connsiteX15" fmla="*/ 1441847 w 4591051"/>
                  <a:gd name="connsiteY15" fmla="*/ 4366408 h 4565650"/>
                  <a:gd name="connsiteX16" fmla="*/ 1456730 w 4591051"/>
                  <a:gd name="connsiteY16" fmla="*/ 4458595 h 4565650"/>
                  <a:gd name="connsiteX17" fmla="*/ 1403152 w 4591051"/>
                  <a:gd name="connsiteY17" fmla="*/ 4485358 h 4565650"/>
                  <a:gd name="connsiteX18" fmla="*/ 1364456 w 4591051"/>
                  <a:gd name="connsiteY18" fmla="*/ 4473463 h 4565650"/>
                  <a:gd name="connsiteX19" fmla="*/ 1007269 w 4591051"/>
                  <a:gd name="connsiteY19" fmla="*/ 4211772 h 4565650"/>
                  <a:gd name="connsiteX20" fmla="*/ 980480 w 4591051"/>
                  <a:gd name="connsiteY20" fmla="*/ 4170139 h 4565650"/>
                  <a:gd name="connsiteX21" fmla="*/ 1001316 w 4591051"/>
                  <a:gd name="connsiteY21" fmla="*/ 4098769 h 4565650"/>
                  <a:gd name="connsiteX22" fmla="*/ 1340644 w 4591051"/>
                  <a:gd name="connsiteY22" fmla="*/ 3813287 h 4565650"/>
                  <a:gd name="connsiteX23" fmla="*/ 1432917 w 4591051"/>
                  <a:gd name="connsiteY23" fmla="*/ 3822208 h 4565650"/>
                  <a:gd name="connsiteX24" fmla="*/ 1423988 w 4591051"/>
                  <a:gd name="connsiteY24" fmla="*/ 3914395 h 4565650"/>
                  <a:gd name="connsiteX25" fmla="*/ 1224558 w 4591051"/>
                  <a:gd name="connsiteY25" fmla="*/ 4080926 h 4565650"/>
                  <a:gd name="connsiteX26" fmla="*/ 3748683 w 4591051"/>
                  <a:gd name="connsiteY26" fmla="*/ 4080926 h 4565650"/>
                  <a:gd name="connsiteX27" fmla="*/ 4168378 w 4591051"/>
                  <a:gd name="connsiteY27" fmla="*/ 3721100 h 4565650"/>
                  <a:gd name="connsiteX28" fmla="*/ 2313782 w 4591051"/>
                  <a:gd name="connsiteY28" fmla="*/ 1339849 h 4565650"/>
                  <a:gd name="connsiteX29" fmla="*/ 1352550 w 4591051"/>
                  <a:gd name="connsiteY29" fmla="*/ 2294731 h 4565650"/>
                  <a:gd name="connsiteX30" fmla="*/ 2313782 w 4591051"/>
                  <a:gd name="connsiteY30" fmla="*/ 3249613 h 4565650"/>
                  <a:gd name="connsiteX31" fmla="*/ 3275014 w 4591051"/>
                  <a:gd name="connsiteY31" fmla="*/ 2294731 h 4565650"/>
                  <a:gd name="connsiteX32" fmla="*/ 2313782 w 4591051"/>
                  <a:gd name="connsiteY32" fmla="*/ 1339849 h 4565650"/>
                  <a:gd name="connsiteX33" fmla="*/ 2314575 w 4591051"/>
                  <a:gd name="connsiteY33" fmla="*/ 1220787 h 4565650"/>
                  <a:gd name="connsiteX34" fmla="*/ 3390900 w 4591051"/>
                  <a:gd name="connsiteY34" fmla="*/ 2296319 h 4565650"/>
                  <a:gd name="connsiteX35" fmla="*/ 2314575 w 4591051"/>
                  <a:gd name="connsiteY35" fmla="*/ 3371851 h 4565650"/>
                  <a:gd name="connsiteX36" fmla="*/ 1238250 w 4591051"/>
                  <a:gd name="connsiteY36" fmla="*/ 2296319 h 4565650"/>
                  <a:gd name="connsiteX37" fmla="*/ 2314575 w 4591051"/>
                  <a:gd name="connsiteY37" fmla="*/ 1220787 h 4565650"/>
                  <a:gd name="connsiteX38" fmla="*/ 433869 w 4591051"/>
                  <a:gd name="connsiteY38" fmla="*/ 959569 h 4565650"/>
                  <a:gd name="connsiteX39" fmla="*/ 467760 w 4591051"/>
                  <a:gd name="connsiteY39" fmla="*/ 982262 h 4565650"/>
                  <a:gd name="connsiteX40" fmla="*/ 750799 w 4591051"/>
                  <a:gd name="connsiteY40" fmla="*/ 1321553 h 4565650"/>
                  <a:gd name="connsiteX41" fmla="*/ 741861 w 4591051"/>
                  <a:gd name="connsiteY41" fmla="*/ 1413817 h 4565650"/>
                  <a:gd name="connsiteX42" fmla="*/ 649501 w 4591051"/>
                  <a:gd name="connsiteY42" fmla="*/ 1404888 h 4565650"/>
                  <a:gd name="connsiteX43" fmla="*/ 482656 w 4591051"/>
                  <a:gd name="connsiteY43" fmla="*/ 1205480 h 4565650"/>
                  <a:gd name="connsiteX44" fmla="*/ 482656 w 4591051"/>
                  <a:gd name="connsiteY44" fmla="*/ 3723375 h 4565650"/>
                  <a:gd name="connsiteX45" fmla="*/ 846138 w 4591051"/>
                  <a:gd name="connsiteY45" fmla="*/ 4143025 h 4565650"/>
                  <a:gd name="connsiteX46" fmla="*/ 423069 w 4591051"/>
                  <a:gd name="connsiteY46" fmla="*/ 4565650 h 4565650"/>
                  <a:gd name="connsiteX47" fmla="*/ 0 w 4591051"/>
                  <a:gd name="connsiteY47" fmla="*/ 4143025 h 4565650"/>
                  <a:gd name="connsiteX48" fmla="*/ 351565 w 4591051"/>
                  <a:gd name="connsiteY48" fmla="*/ 3726352 h 4565650"/>
                  <a:gd name="connsiteX49" fmla="*/ 351565 w 4591051"/>
                  <a:gd name="connsiteY49" fmla="*/ 1211433 h 4565650"/>
                  <a:gd name="connsiteX50" fmla="*/ 196638 w 4591051"/>
                  <a:gd name="connsiteY50" fmla="*/ 1422745 h 4565650"/>
                  <a:gd name="connsiteX51" fmla="*/ 107257 w 4591051"/>
                  <a:gd name="connsiteY51" fmla="*/ 1437627 h 4565650"/>
                  <a:gd name="connsiteX52" fmla="*/ 77463 w 4591051"/>
                  <a:gd name="connsiteY52" fmla="*/ 1384054 h 4565650"/>
                  <a:gd name="connsiteX53" fmla="*/ 92360 w 4591051"/>
                  <a:gd name="connsiteY53" fmla="*/ 1345363 h 4565650"/>
                  <a:gd name="connsiteX54" fmla="*/ 351565 w 4591051"/>
                  <a:gd name="connsiteY54" fmla="*/ 988215 h 4565650"/>
                  <a:gd name="connsiteX55" fmla="*/ 393276 w 4591051"/>
                  <a:gd name="connsiteY55" fmla="*/ 961429 h 4565650"/>
                  <a:gd name="connsiteX56" fmla="*/ 433869 w 4591051"/>
                  <a:gd name="connsiteY56" fmla="*/ 959569 h 4565650"/>
                  <a:gd name="connsiteX57" fmla="*/ 419895 w 4591051"/>
                  <a:gd name="connsiteY57" fmla="*/ 128588 h 4565650"/>
                  <a:gd name="connsiteX58" fmla="*/ 122238 w 4591051"/>
                  <a:gd name="connsiteY58" fmla="*/ 419896 h 4565650"/>
                  <a:gd name="connsiteX59" fmla="*/ 419895 w 4591051"/>
                  <a:gd name="connsiteY59" fmla="*/ 711202 h 4565650"/>
                  <a:gd name="connsiteX60" fmla="*/ 717552 w 4591051"/>
                  <a:gd name="connsiteY60" fmla="*/ 419896 h 4565650"/>
                  <a:gd name="connsiteX61" fmla="*/ 419895 w 4591051"/>
                  <a:gd name="connsiteY61" fmla="*/ 128588 h 4565650"/>
                  <a:gd name="connsiteX62" fmla="*/ 4164807 w 4591051"/>
                  <a:gd name="connsiteY62" fmla="*/ 128588 h 4565650"/>
                  <a:gd name="connsiteX63" fmla="*/ 3873500 w 4591051"/>
                  <a:gd name="connsiteY63" fmla="*/ 419895 h 4565650"/>
                  <a:gd name="connsiteX64" fmla="*/ 4164807 w 4591051"/>
                  <a:gd name="connsiteY64" fmla="*/ 711202 h 4565650"/>
                  <a:gd name="connsiteX65" fmla="*/ 4456114 w 4591051"/>
                  <a:gd name="connsiteY65" fmla="*/ 419895 h 4565650"/>
                  <a:gd name="connsiteX66" fmla="*/ 4164807 w 4591051"/>
                  <a:gd name="connsiteY66" fmla="*/ 128588 h 4565650"/>
                  <a:gd name="connsiteX67" fmla="*/ 422672 w 4591051"/>
                  <a:gd name="connsiteY67" fmla="*/ 0 h 4565650"/>
                  <a:gd name="connsiteX68" fmla="*/ 839391 w 4591051"/>
                  <a:gd name="connsiteY68" fmla="*/ 356852 h 4565650"/>
                  <a:gd name="connsiteX69" fmla="*/ 3369469 w 4591051"/>
                  <a:gd name="connsiteY69" fmla="*/ 356852 h 4565650"/>
                  <a:gd name="connsiteX70" fmla="*/ 3167063 w 4591051"/>
                  <a:gd name="connsiteY70" fmla="*/ 190321 h 4565650"/>
                  <a:gd name="connsiteX71" fmla="*/ 3158133 w 4591051"/>
                  <a:gd name="connsiteY71" fmla="*/ 98134 h 4565650"/>
                  <a:gd name="connsiteX72" fmla="*/ 3250406 w 4591051"/>
                  <a:gd name="connsiteY72" fmla="*/ 89213 h 4565650"/>
                  <a:gd name="connsiteX73" fmla="*/ 3592711 w 4591051"/>
                  <a:gd name="connsiteY73" fmla="*/ 371721 h 4565650"/>
                  <a:gd name="connsiteX74" fmla="*/ 3610570 w 4591051"/>
                  <a:gd name="connsiteY74" fmla="*/ 446065 h 4565650"/>
                  <a:gd name="connsiteX75" fmla="*/ 3586758 w 4591051"/>
                  <a:gd name="connsiteY75" fmla="*/ 487698 h 4565650"/>
                  <a:gd name="connsiteX76" fmla="*/ 3226594 w 4591051"/>
                  <a:gd name="connsiteY76" fmla="*/ 749390 h 4565650"/>
                  <a:gd name="connsiteX77" fmla="*/ 3187899 w 4591051"/>
                  <a:gd name="connsiteY77" fmla="*/ 761285 h 4565650"/>
                  <a:gd name="connsiteX78" fmla="*/ 3134320 w 4591051"/>
                  <a:gd name="connsiteY78" fmla="*/ 734521 h 4565650"/>
                  <a:gd name="connsiteX79" fmla="*/ 3149203 w 4591051"/>
                  <a:gd name="connsiteY79" fmla="*/ 642334 h 4565650"/>
                  <a:gd name="connsiteX80" fmla="*/ 3360539 w 4591051"/>
                  <a:gd name="connsiteY80" fmla="*/ 487698 h 4565650"/>
                  <a:gd name="connsiteX81" fmla="*/ 839391 w 4591051"/>
                  <a:gd name="connsiteY81" fmla="*/ 487698 h 4565650"/>
                  <a:gd name="connsiteX82" fmla="*/ 422672 w 4591051"/>
                  <a:gd name="connsiteY82" fmla="*/ 844550 h 4565650"/>
                  <a:gd name="connsiteX83" fmla="*/ 0 w 4591051"/>
                  <a:gd name="connsiteY83" fmla="*/ 422275 h 4565650"/>
                  <a:gd name="connsiteX84" fmla="*/ 422672 w 4591051"/>
                  <a:gd name="connsiteY84" fmla="*/ 0 h 4565650"/>
                  <a:gd name="connsiteX85" fmla="*/ 4164807 w 4591051"/>
                  <a:gd name="connsiteY85" fmla="*/ 0 h 4565650"/>
                  <a:gd name="connsiteX86" fmla="*/ 4591051 w 4591051"/>
                  <a:gd name="connsiteY86" fmla="*/ 422626 h 4565650"/>
                  <a:gd name="connsiteX87" fmla="*/ 4224422 w 4591051"/>
                  <a:gd name="connsiteY87" fmla="*/ 842275 h 4565650"/>
                  <a:gd name="connsiteX88" fmla="*/ 4224422 w 4591051"/>
                  <a:gd name="connsiteY88" fmla="*/ 3360170 h 4565650"/>
                  <a:gd name="connsiteX89" fmla="*/ 4394323 w 4591051"/>
                  <a:gd name="connsiteY89" fmla="*/ 3160762 h 4565650"/>
                  <a:gd name="connsiteX90" fmla="*/ 4486726 w 4591051"/>
                  <a:gd name="connsiteY90" fmla="*/ 3151834 h 4565650"/>
                  <a:gd name="connsiteX91" fmla="*/ 4495668 w 4591051"/>
                  <a:gd name="connsiteY91" fmla="*/ 3244097 h 4565650"/>
                  <a:gd name="connsiteX92" fmla="*/ 4209518 w 4591051"/>
                  <a:gd name="connsiteY92" fmla="*/ 3583388 h 4565650"/>
                  <a:gd name="connsiteX93" fmla="*/ 4135000 w 4591051"/>
                  <a:gd name="connsiteY93" fmla="*/ 3604221 h 4565650"/>
                  <a:gd name="connsiteX94" fmla="*/ 4093270 w 4591051"/>
                  <a:gd name="connsiteY94" fmla="*/ 3577435 h 4565650"/>
                  <a:gd name="connsiteX95" fmla="*/ 3830966 w 4591051"/>
                  <a:gd name="connsiteY95" fmla="*/ 3220287 h 4565650"/>
                  <a:gd name="connsiteX96" fmla="*/ 3819043 w 4591051"/>
                  <a:gd name="connsiteY96" fmla="*/ 3181596 h 4565650"/>
                  <a:gd name="connsiteX97" fmla="*/ 3845869 w 4591051"/>
                  <a:gd name="connsiteY97" fmla="*/ 3128024 h 4565650"/>
                  <a:gd name="connsiteX98" fmla="*/ 3938272 w 4591051"/>
                  <a:gd name="connsiteY98" fmla="*/ 3142905 h 4565650"/>
                  <a:gd name="connsiteX99" fmla="*/ 4093270 w 4591051"/>
                  <a:gd name="connsiteY99" fmla="*/ 3354218 h 4565650"/>
                  <a:gd name="connsiteX100" fmla="*/ 4093270 w 4591051"/>
                  <a:gd name="connsiteY100" fmla="*/ 839299 h 4565650"/>
                  <a:gd name="connsiteX101" fmla="*/ 3738563 w 4591051"/>
                  <a:gd name="connsiteY101" fmla="*/ 422626 h 4565650"/>
                  <a:gd name="connsiteX102" fmla="*/ 4164807 w 4591051"/>
                  <a:gd name="connsiteY102" fmla="*/ 0 h 456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4591051" h="4565650">
                    <a:moveTo>
                      <a:pt x="4164807" y="3848100"/>
                    </a:moveTo>
                    <a:cubicBezTo>
                      <a:pt x="4003923" y="3848100"/>
                      <a:pt x="3873500" y="3980299"/>
                      <a:pt x="3873500" y="4143375"/>
                    </a:cubicBezTo>
                    <a:cubicBezTo>
                      <a:pt x="3873500" y="4306451"/>
                      <a:pt x="4003923" y="4438650"/>
                      <a:pt x="4164807" y="4438650"/>
                    </a:cubicBezTo>
                    <a:cubicBezTo>
                      <a:pt x="4325691" y="4438650"/>
                      <a:pt x="4456114" y="4306451"/>
                      <a:pt x="4456114" y="4143375"/>
                    </a:cubicBezTo>
                    <a:cubicBezTo>
                      <a:pt x="4456114" y="3980299"/>
                      <a:pt x="4325691" y="3848100"/>
                      <a:pt x="4164807" y="3848100"/>
                    </a:cubicBezTo>
                    <a:close/>
                    <a:moveTo>
                      <a:pt x="419895" y="3848100"/>
                    </a:moveTo>
                    <a:cubicBezTo>
                      <a:pt x="255504" y="3848100"/>
                      <a:pt x="122238" y="3980299"/>
                      <a:pt x="122238" y="4143375"/>
                    </a:cubicBezTo>
                    <a:cubicBezTo>
                      <a:pt x="122238" y="4306451"/>
                      <a:pt x="255504" y="4438650"/>
                      <a:pt x="419895" y="4438650"/>
                    </a:cubicBezTo>
                    <a:cubicBezTo>
                      <a:pt x="584286" y="4438650"/>
                      <a:pt x="717552" y="4306451"/>
                      <a:pt x="717552" y="4143375"/>
                    </a:cubicBezTo>
                    <a:cubicBezTo>
                      <a:pt x="717552" y="3980299"/>
                      <a:pt x="584286" y="3848100"/>
                      <a:pt x="419895" y="3848100"/>
                    </a:cubicBezTo>
                    <a:close/>
                    <a:moveTo>
                      <a:pt x="4168378" y="3721100"/>
                    </a:moveTo>
                    <a:cubicBezTo>
                      <a:pt x="4400550" y="3721100"/>
                      <a:pt x="4591050" y="3908448"/>
                      <a:pt x="4591050" y="4143375"/>
                    </a:cubicBezTo>
                    <a:cubicBezTo>
                      <a:pt x="4591050" y="4375329"/>
                      <a:pt x="4400550" y="4565650"/>
                      <a:pt x="4168378" y="4565650"/>
                    </a:cubicBezTo>
                    <a:cubicBezTo>
                      <a:pt x="3957042" y="4565650"/>
                      <a:pt x="3784402" y="4411014"/>
                      <a:pt x="3751660" y="4211772"/>
                    </a:cubicBezTo>
                    <a:cubicBezTo>
                      <a:pt x="3751660" y="4211772"/>
                      <a:pt x="3751660" y="4211772"/>
                      <a:pt x="1230511" y="4211772"/>
                    </a:cubicBezTo>
                    <a:cubicBezTo>
                      <a:pt x="1230511" y="4211772"/>
                      <a:pt x="1230511" y="4211772"/>
                      <a:pt x="1441847" y="4366408"/>
                    </a:cubicBezTo>
                    <a:cubicBezTo>
                      <a:pt x="1471613" y="4387224"/>
                      <a:pt x="1477566" y="4428857"/>
                      <a:pt x="1456730" y="4458595"/>
                    </a:cubicBezTo>
                    <a:cubicBezTo>
                      <a:pt x="1444824" y="4476437"/>
                      <a:pt x="1423988" y="4485358"/>
                      <a:pt x="1403152" y="4485358"/>
                    </a:cubicBezTo>
                    <a:cubicBezTo>
                      <a:pt x="1391246" y="4485358"/>
                      <a:pt x="1376363" y="4482385"/>
                      <a:pt x="1364456" y="4473463"/>
                    </a:cubicBezTo>
                    <a:cubicBezTo>
                      <a:pt x="1364456" y="4473463"/>
                      <a:pt x="1364456" y="4473463"/>
                      <a:pt x="1007269" y="4211772"/>
                    </a:cubicBezTo>
                    <a:cubicBezTo>
                      <a:pt x="992386" y="4202851"/>
                      <a:pt x="983456" y="4187982"/>
                      <a:pt x="980480" y="4170139"/>
                    </a:cubicBezTo>
                    <a:cubicBezTo>
                      <a:pt x="971550" y="4146349"/>
                      <a:pt x="977503" y="4116611"/>
                      <a:pt x="1001316" y="4098769"/>
                    </a:cubicBezTo>
                    <a:cubicBezTo>
                      <a:pt x="1001316" y="4098769"/>
                      <a:pt x="1001316" y="4098769"/>
                      <a:pt x="1340644" y="3813287"/>
                    </a:cubicBezTo>
                    <a:cubicBezTo>
                      <a:pt x="1367433" y="3789497"/>
                      <a:pt x="1409105" y="3795444"/>
                      <a:pt x="1432917" y="3822208"/>
                    </a:cubicBezTo>
                    <a:cubicBezTo>
                      <a:pt x="1456730" y="3848972"/>
                      <a:pt x="1453753" y="3890605"/>
                      <a:pt x="1423988" y="3914395"/>
                    </a:cubicBezTo>
                    <a:cubicBezTo>
                      <a:pt x="1423988" y="3914395"/>
                      <a:pt x="1423988" y="3914395"/>
                      <a:pt x="1224558" y="4080926"/>
                    </a:cubicBezTo>
                    <a:cubicBezTo>
                      <a:pt x="1224558" y="4080926"/>
                      <a:pt x="1224558" y="4080926"/>
                      <a:pt x="3748683" y="4080926"/>
                    </a:cubicBezTo>
                    <a:cubicBezTo>
                      <a:pt x="3778449" y="3878710"/>
                      <a:pt x="3954066" y="3721100"/>
                      <a:pt x="4168378" y="3721100"/>
                    </a:cubicBezTo>
                    <a:close/>
                    <a:moveTo>
                      <a:pt x="2313782" y="1339849"/>
                    </a:moveTo>
                    <a:cubicBezTo>
                      <a:pt x="1782908" y="1339849"/>
                      <a:pt x="1352550" y="1767364"/>
                      <a:pt x="1352550" y="2294731"/>
                    </a:cubicBezTo>
                    <a:cubicBezTo>
                      <a:pt x="1352550" y="2822098"/>
                      <a:pt x="1782908" y="3249613"/>
                      <a:pt x="2313782" y="3249613"/>
                    </a:cubicBezTo>
                    <a:cubicBezTo>
                      <a:pt x="2844656" y="3249613"/>
                      <a:pt x="3275014" y="2822098"/>
                      <a:pt x="3275014" y="2294731"/>
                    </a:cubicBezTo>
                    <a:cubicBezTo>
                      <a:pt x="3275014" y="1767364"/>
                      <a:pt x="2844656" y="1339849"/>
                      <a:pt x="2313782" y="1339849"/>
                    </a:cubicBezTo>
                    <a:close/>
                    <a:moveTo>
                      <a:pt x="2314575" y="1220787"/>
                    </a:moveTo>
                    <a:cubicBezTo>
                      <a:pt x="2909013" y="1220787"/>
                      <a:pt x="3390900" y="1702319"/>
                      <a:pt x="3390900" y="2296319"/>
                    </a:cubicBezTo>
                    <a:cubicBezTo>
                      <a:pt x="3390900" y="2890319"/>
                      <a:pt x="2909013" y="3371851"/>
                      <a:pt x="2314575" y="3371851"/>
                    </a:cubicBezTo>
                    <a:cubicBezTo>
                      <a:pt x="1720137" y="3371851"/>
                      <a:pt x="1238250" y="2890319"/>
                      <a:pt x="1238250" y="2296319"/>
                    </a:cubicBezTo>
                    <a:cubicBezTo>
                      <a:pt x="1238250" y="1702319"/>
                      <a:pt x="1720137" y="1220787"/>
                      <a:pt x="2314575" y="1220787"/>
                    </a:cubicBezTo>
                    <a:close/>
                    <a:moveTo>
                      <a:pt x="433869" y="959569"/>
                    </a:moveTo>
                    <a:cubicBezTo>
                      <a:pt x="446904" y="962917"/>
                      <a:pt x="458821" y="970358"/>
                      <a:pt x="467760" y="982262"/>
                    </a:cubicBezTo>
                    <a:cubicBezTo>
                      <a:pt x="467760" y="982262"/>
                      <a:pt x="467760" y="982262"/>
                      <a:pt x="750799" y="1321553"/>
                    </a:cubicBezTo>
                    <a:cubicBezTo>
                      <a:pt x="774634" y="1348339"/>
                      <a:pt x="771654" y="1390007"/>
                      <a:pt x="741861" y="1413817"/>
                    </a:cubicBezTo>
                    <a:cubicBezTo>
                      <a:pt x="715046" y="1437627"/>
                      <a:pt x="673335" y="1434650"/>
                      <a:pt x="649501" y="1404888"/>
                    </a:cubicBezTo>
                    <a:cubicBezTo>
                      <a:pt x="649501" y="1404888"/>
                      <a:pt x="649501" y="1404888"/>
                      <a:pt x="482656" y="1205480"/>
                    </a:cubicBezTo>
                    <a:cubicBezTo>
                      <a:pt x="482656" y="1205480"/>
                      <a:pt x="482656" y="1205480"/>
                      <a:pt x="482656" y="3723375"/>
                    </a:cubicBezTo>
                    <a:cubicBezTo>
                      <a:pt x="688232" y="3753138"/>
                      <a:pt x="846138" y="3928736"/>
                      <a:pt x="846138" y="4143025"/>
                    </a:cubicBezTo>
                    <a:cubicBezTo>
                      <a:pt x="846138" y="4375171"/>
                      <a:pt x="655459" y="4565650"/>
                      <a:pt x="423069" y="4565650"/>
                    </a:cubicBezTo>
                    <a:cubicBezTo>
                      <a:pt x="190679" y="4565650"/>
                      <a:pt x="0" y="4375171"/>
                      <a:pt x="0" y="4143025"/>
                    </a:cubicBezTo>
                    <a:cubicBezTo>
                      <a:pt x="0" y="3931712"/>
                      <a:pt x="151947" y="3759090"/>
                      <a:pt x="351565" y="3726352"/>
                    </a:cubicBezTo>
                    <a:cubicBezTo>
                      <a:pt x="351565" y="3726352"/>
                      <a:pt x="351565" y="3726352"/>
                      <a:pt x="351565" y="1211433"/>
                    </a:cubicBezTo>
                    <a:cubicBezTo>
                      <a:pt x="351565" y="1211433"/>
                      <a:pt x="351565" y="1211433"/>
                      <a:pt x="196638" y="1422745"/>
                    </a:cubicBezTo>
                    <a:cubicBezTo>
                      <a:pt x="175782" y="1452508"/>
                      <a:pt x="134071" y="1458460"/>
                      <a:pt x="107257" y="1437627"/>
                    </a:cubicBezTo>
                    <a:cubicBezTo>
                      <a:pt x="89381" y="1425722"/>
                      <a:pt x="77463" y="1404888"/>
                      <a:pt x="77463" y="1384054"/>
                    </a:cubicBezTo>
                    <a:cubicBezTo>
                      <a:pt x="77463" y="1372149"/>
                      <a:pt x="83422" y="1357268"/>
                      <a:pt x="92360" y="1345363"/>
                    </a:cubicBezTo>
                    <a:cubicBezTo>
                      <a:pt x="92360" y="1345363"/>
                      <a:pt x="92360" y="1345363"/>
                      <a:pt x="351565" y="988215"/>
                    </a:cubicBezTo>
                    <a:cubicBezTo>
                      <a:pt x="363482" y="973334"/>
                      <a:pt x="378379" y="964405"/>
                      <a:pt x="393276" y="961429"/>
                    </a:cubicBezTo>
                    <a:cubicBezTo>
                      <a:pt x="406683" y="956965"/>
                      <a:pt x="420835" y="956221"/>
                      <a:pt x="433869" y="959569"/>
                    </a:cubicBezTo>
                    <a:close/>
                    <a:moveTo>
                      <a:pt x="419895" y="128588"/>
                    </a:moveTo>
                    <a:cubicBezTo>
                      <a:pt x="255504" y="128588"/>
                      <a:pt x="122238" y="259011"/>
                      <a:pt x="122238" y="419896"/>
                    </a:cubicBezTo>
                    <a:cubicBezTo>
                      <a:pt x="122238" y="580779"/>
                      <a:pt x="255504" y="711202"/>
                      <a:pt x="419895" y="711202"/>
                    </a:cubicBezTo>
                    <a:cubicBezTo>
                      <a:pt x="584286" y="711202"/>
                      <a:pt x="717552" y="580779"/>
                      <a:pt x="717552" y="419896"/>
                    </a:cubicBezTo>
                    <a:cubicBezTo>
                      <a:pt x="717552" y="259011"/>
                      <a:pt x="584286" y="128588"/>
                      <a:pt x="419895" y="128588"/>
                    </a:cubicBezTo>
                    <a:close/>
                    <a:moveTo>
                      <a:pt x="4164807" y="128588"/>
                    </a:moveTo>
                    <a:cubicBezTo>
                      <a:pt x="4003923" y="128588"/>
                      <a:pt x="3873500" y="259011"/>
                      <a:pt x="3873500" y="419895"/>
                    </a:cubicBezTo>
                    <a:cubicBezTo>
                      <a:pt x="3873500" y="580779"/>
                      <a:pt x="4003923" y="711202"/>
                      <a:pt x="4164807" y="711202"/>
                    </a:cubicBezTo>
                    <a:cubicBezTo>
                      <a:pt x="4325691" y="711202"/>
                      <a:pt x="4456114" y="580779"/>
                      <a:pt x="4456114" y="419895"/>
                    </a:cubicBezTo>
                    <a:cubicBezTo>
                      <a:pt x="4456114" y="259011"/>
                      <a:pt x="4325691" y="128588"/>
                      <a:pt x="4164807" y="128588"/>
                    </a:cubicBezTo>
                    <a:close/>
                    <a:moveTo>
                      <a:pt x="422672" y="0"/>
                    </a:moveTo>
                    <a:cubicBezTo>
                      <a:pt x="634008" y="0"/>
                      <a:pt x="809625" y="154636"/>
                      <a:pt x="839391" y="356852"/>
                    </a:cubicBezTo>
                    <a:cubicBezTo>
                      <a:pt x="839391" y="356852"/>
                      <a:pt x="839391" y="356852"/>
                      <a:pt x="3369469" y="356852"/>
                    </a:cubicBezTo>
                    <a:cubicBezTo>
                      <a:pt x="3369469" y="356852"/>
                      <a:pt x="3369469" y="356852"/>
                      <a:pt x="3167063" y="190321"/>
                    </a:cubicBezTo>
                    <a:cubicBezTo>
                      <a:pt x="3140274" y="166531"/>
                      <a:pt x="3137297" y="124898"/>
                      <a:pt x="3158133" y="98134"/>
                    </a:cubicBezTo>
                    <a:cubicBezTo>
                      <a:pt x="3181945" y="71370"/>
                      <a:pt x="3223617" y="65424"/>
                      <a:pt x="3250406" y="89213"/>
                    </a:cubicBezTo>
                    <a:cubicBezTo>
                      <a:pt x="3250406" y="89213"/>
                      <a:pt x="3250406" y="89213"/>
                      <a:pt x="3592711" y="371721"/>
                    </a:cubicBezTo>
                    <a:cubicBezTo>
                      <a:pt x="3613547" y="392537"/>
                      <a:pt x="3619500" y="422275"/>
                      <a:pt x="3610570" y="446065"/>
                    </a:cubicBezTo>
                    <a:cubicBezTo>
                      <a:pt x="3607594" y="460934"/>
                      <a:pt x="3598664" y="475803"/>
                      <a:pt x="3586758" y="487698"/>
                    </a:cubicBezTo>
                    <a:cubicBezTo>
                      <a:pt x="3586758" y="487698"/>
                      <a:pt x="3586758" y="487698"/>
                      <a:pt x="3226594" y="749390"/>
                    </a:cubicBezTo>
                    <a:cubicBezTo>
                      <a:pt x="3214688" y="755337"/>
                      <a:pt x="3202781" y="761285"/>
                      <a:pt x="3187899" y="761285"/>
                    </a:cubicBezTo>
                    <a:cubicBezTo>
                      <a:pt x="3167063" y="761285"/>
                      <a:pt x="3149203" y="752363"/>
                      <a:pt x="3134320" y="734521"/>
                    </a:cubicBezTo>
                    <a:cubicBezTo>
                      <a:pt x="3113485" y="704783"/>
                      <a:pt x="3119438" y="663150"/>
                      <a:pt x="3149203" y="642334"/>
                    </a:cubicBezTo>
                    <a:cubicBezTo>
                      <a:pt x="3149203" y="642334"/>
                      <a:pt x="3149203" y="642334"/>
                      <a:pt x="3360539" y="487698"/>
                    </a:cubicBezTo>
                    <a:cubicBezTo>
                      <a:pt x="3360539" y="487698"/>
                      <a:pt x="3360539" y="487698"/>
                      <a:pt x="839391" y="487698"/>
                    </a:cubicBezTo>
                    <a:cubicBezTo>
                      <a:pt x="809625" y="689915"/>
                      <a:pt x="634008" y="844550"/>
                      <a:pt x="422672" y="844550"/>
                    </a:cubicBezTo>
                    <a:cubicBezTo>
                      <a:pt x="190500" y="844550"/>
                      <a:pt x="0" y="657203"/>
                      <a:pt x="0" y="422275"/>
                    </a:cubicBezTo>
                    <a:cubicBezTo>
                      <a:pt x="0" y="190321"/>
                      <a:pt x="190500" y="0"/>
                      <a:pt x="422672" y="0"/>
                    </a:cubicBezTo>
                    <a:close/>
                    <a:moveTo>
                      <a:pt x="4164807" y="0"/>
                    </a:moveTo>
                    <a:cubicBezTo>
                      <a:pt x="4400285" y="0"/>
                      <a:pt x="4591051" y="190479"/>
                      <a:pt x="4591051" y="422626"/>
                    </a:cubicBezTo>
                    <a:cubicBezTo>
                      <a:pt x="4591051" y="636915"/>
                      <a:pt x="4430092" y="812512"/>
                      <a:pt x="4224422" y="842275"/>
                    </a:cubicBezTo>
                    <a:cubicBezTo>
                      <a:pt x="4224422" y="842275"/>
                      <a:pt x="4224422" y="842275"/>
                      <a:pt x="4224422" y="3360170"/>
                    </a:cubicBezTo>
                    <a:cubicBezTo>
                      <a:pt x="4224422" y="3360170"/>
                      <a:pt x="4224422" y="3360170"/>
                      <a:pt x="4394323" y="3160762"/>
                    </a:cubicBezTo>
                    <a:cubicBezTo>
                      <a:pt x="4418169" y="3131000"/>
                      <a:pt x="4459899" y="3128024"/>
                      <a:pt x="4486726" y="3151834"/>
                    </a:cubicBezTo>
                    <a:cubicBezTo>
                      <a:pt x="4513552" y="3175643"/>
                      <a:pt x="4519514" y="3214335"/>
                      <a:pt x="4495668" y="3244097"/>
                    </a:cubicBezTo>
                    <a:cubicBezTo>
                      <a:pt x="4495668" y="3244097"/>
                      <a:pt x="4495668" y="3244097"/>
                      <a:pt x="4209518" y="3583388"/>
                    </a:cubicBezTo>
                    <a:cubicBezTo>
                      <a:pt x="4188653" y="3607198"/>
                      <a:pt x="4158846" y="3613150"/>
                      <a:pt x="4135000" y="3604221"/>
                    </a:cubicBezTo>
                    <a:cubicBezTo>
                      <a:pt x="4120096" y="3601245"/>
                      <a:pt x="4105193" y="3592316"/>
                      <a:pt x="4093270" y="3577435"/>
                    </a:cubicBezTo>
                    <a:cubicBezTo>
                      <a:pt x="4093270" y="3577435"/>
                      <a:pt x="4093270" y="3577435"/>
                      <a:pt x="3830966" y="3220287"/>
                    </a:cubicBezTo>
                    <a:cubicBezTo>
                      <a:pt x="3825004" y="3208382"/>
                      <a:pt x="3819043" y="3193501"/>
                      <a:pt x="3819043" y="3181596"/>
                    </a:cubicBezTo>
                    <a:cubicBezTo>
                      <a:pt x="3819043" y="3160762"/>
                      <a:pt x="3827985" y="3139929"/>
                      <a:pt x="3845869" y="3128024"/>
                    </a:cubicBezTo>
                    <a:cubicBezTo>
                      <a:pt x="3875677" y="3107190"/>
                      <a:pt x="3917407" y="3113143"/>
                      <a:pt x="3938272" y="3142905"/>
                    </a:cubicBezTo>
                    <a:cubicBezTo>
                      <a:pt x="3938272" y="3142905"/>
                      <a:pt x="3938272" y="3142905"/>
                      <a:pt x="4093270" y="3354218"/>
                    </a:cubicBezTo>
                    <a:cubicBezTo>
                      <a:pt x="4093270" y="3354218"/>
                      <a:pt x="4093270" y="3354218"/>
                      <a:pt x="4093270" y="839299"/>
                    </a:cubicBezTo>
                    <a:cubicBezTo>
                      <a:pt x="3893561" y="806560"/>
                      <a:pt x="3738563" y="630962"/>
                      <a:pt x="3738563" y="422626"/>
                    </a:cubicBezTo>
                    <a:cubicBezTo>
                      <a:pt x="3738563" y="190479"/>
                      <a:pt x="3929330" y="0"/>
                      <a:pt x="416480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01" name="Freeform 100"/>
              <p:cNvSpPr>
                <a:spLocks noChangeArrowheads="1"/>
              </p:cNvSpPr>
              <p:nvPr/>
            </p:nvSpPr>
            <p:spPr bwMode="auto">
              <a:xfrm>
                <a:off x="4027488" y="1377950"/>
                <a:ext cx="4119563" cy="4095750"/>
              </a:xfrm>
              <a:custGeom>
                <a:avLst/>
                <a:gdLst>
                  <a:gd name="connsiteX0" fmla="*/ 3934619 w 4119563"/>
                  <a:gd name="connsiteY0" fmla="*/ 3721100 h 4095750"/>
                  <a:gd name="connsiteX1" fmla="*/ 4119563 w 4119563"/>
                  <a:gd name="connsiteY1" fmla="*/ 3908425 h 4095750"/>
                  <a:gd name="connsiteX2" fmla="*/ 3934619 w 4119563"/>
                  <a:gd name="connsiteY2" fmla="*/ 4095750 h 4095750"/>
                  <a:gd name="connsiteX3" fmla="*/ 3749675 w 4119563"/>
                  <a:gd name="connsiteY3" fmla="*/ 3908425 h 4095750"/>
                  <a:gd name="connsiteX4" fmla="*/ 3934619 w 4119563"/>
                  <a:gd name="connsiteY4" fmla="*/ 3721100 h 4095750"/>
                  <a:gd name="connsiteX5" fmla="*/ 190500 w 4119563"/>
                  <a:gd name="connsiteY5" fmla="*/ 3721100 h 4095750"/>
                  <a:gd name="connsiteX6" fmla="*/ 381000 w 4119563"/>
                  <a:gd name="connsiteY6" fmla="*/ 3908425 h 4095750"/>
                  <a:gd name="connsiteX7" fmla="*/ 190500 w 4119563"/>
                  <a:gd name="connsiteY7" fmla="*/ 4095750 h 4095750"/>
                  <a:gd name="connsiteX8" fmla="*/ 0 w 4119563"/>
                  <a:gd name="connsiteY8" fmla="*/ 3908425 h 4095750"/>
                  <a:gd name="connsiteX9" fmla="*/ 190500 w 4119563"/>
                  <a:gd name="connsiteY9" fmla="*/ 3721100 h 4095750"/>
                  <a:gd name="connsiteX10" fmla="*/ 2082800 w 4119563"/>
                  <a:gd name="connsiteY10" fmla="*/ 1211263 h 4095750"/>
                  <a:gd name="connsiteX11" fmla="*/ 2936875 w 4119563"/>
                  <a:gd name="connsiteY11" fmla="*/ 2059782 h 4095750"/>
                  <a:gd name="connsiteX12" fmla="*/ 2082800 w 4119563"/>
                  <a:gd name="connsiteY12" fmla="*/ 2908301 h 4095750"/>
                  <a:gd name="connsiteX13" fmla="*/ 1228725 w 4119563"/>
                  <a:gd name="connsiteY13" fmla="*/ 2059782 h 4095750"/>
                  <a:gd name="connsiteX14" fmla="*/ 2082800 w 4119563"/>
                  <a:gd name="connsiteY14" fmla="*/ 1211263 h 4095750"/>
                  <a:gd name="connsiteX15" fmla="*/ 3934619 w 4119563"/>
                  <a:gd name="connsiteY15" fmla="*/ 0 h 4095750"/>
                  <a:gd name="connsiteX16" fmla="*/ 4119563 w 4119563"/>
                  <a:gd name="connsiteY16" fmla="*/ 184944 h 4095750"/>
                  <a:gd name="connsiteX17" fmla="*/ 3934619 w 4119563"/>
                  <a:gd name="connsiteY17" fmla="*/ 369888 h 4095750"/>
                  <a:gd name="connsiteX18" fmla="*/ 3749675 w 4119563"/>
                  <a:gd name="connsiteY18" fmla="*/ 184944 h 4095750"/>
                  <a:gd name="connsiteX19" fmla="*/ 3934619 w 4119563"/>
                  <a:gd name="connsiteY19" fmla="*/ 0 h 4095750"/>
                  <a:gd name="connsiteX20" fmla="*/ 190500 w 4119563"/>
                  <a:gd name="connsiteY20" fmla="*/ 0 h 4095750"/>
                  <a:gd name="connsiteX21" fmla="*/ 381000 w 4119563"/>
                  <a:gd name="connsiteY21" fmla="*/ 184944 h 4095750"/>
                  <a:gd name="connsiteX22" fmla="*/ 190500 w 4119563"/>
                  <a:gd name="connsiteY22" fmla="*/ 369888 h 4095750"/>
                  <a:gd name="connsiteX23" fmla="*/ 0 w 4119563"/>
                  <a:gd name="connsiteY23" fmla="*/ 184944 h 4095750"/>
                  <a:gd name="connsiteX24" fmla="*/ 190500 w 4119563"/>
                  <a:gd name="connsiteY24" fmla="*/ 0 h 409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119563" h="4095750">
                    <a:moveTo>
                      <a:pt x="3934619" y="3721100"/>
                    </a:moveTo>
                    <a:cubicBezTo>
                      <a:pt x="4036761" y="3721100"/>
                      <a:pt x="4119563" y="3804968"/>
                      <a:pt x="4119563" y="3908425"/>
                    </a:cubicBezTo>
                    <a:cubicBezTo>
                      <a:pt x="4119563" y="4011882"/>
                      <a:pt x="4036761" y="4095750"/>
                      <a:pt x="3934619" y="4095750"/>
                    </a:cubicBezTo>
                    <a:cubicBezTo>
                      <a:pt x="3832477" y="4095750"/>
                      <a:pt x="3749675" y="4011882"/>
                      <a:pt x="3749675" y="3908425"/>
                    </a:cubicBezTo>
                    <a:cubicBezTo>
                      <a:pt x="3749675" y="3804968"/>
                      <a:pt x="3832477" y="3721100"/>
                      <a:pt x="3934619" y="3721100"/>
                    </a:cubicBezTo>
                    <a:close/>
                    <a:moveTo>
                      <a:pt x="190500" y="3721100"/>
                    </a:moveTo>
                    <a:cubicBezTo>
                      <a:pt x="295710" y="3721100"/>
                      <a:pt x="381000" y="3804968"/>
                      <a:pt x="381000" y="3908425"/>
                    </a:cubicBezTo>
                    <a:cubicBezTo>
                      <a:pt x="381000" y="4011882"/>
                      <a:pt x="295710" y="4095750"/>
                      <a:pt x="190500" y="4095750"/>
                    </a:cubicBezTo>
                    <a:cubicBezTo>
                      <a:pt x="85290" y="4095750"/>
                      <a:pt x="0" y="4011882"/>
                      <a:pt x="0" y="3908425"/>
                    </a:cubicBezTo>
                    <a:cubicBezTo>
                      <a:pt x="0" y="3804968"/>
                      <a:pt x="85290" y="3721100"/>
                      <a:pt x="190500" y="3721100"/>
                    </a:cubicBezTo>
                    <a:close/>
                    <a:moveTo>
                      <a:pt x="2082800" y="1211263"/>
                    </a:moveTo>
                    <a:cubicBezTo>
                      <a:pt x="2554493" y="1211263"/>
                      <a:pt x="2936875" y="1591158"/>
                      <a:pt x="2936875" y="2059782"/>
                    </a:cubicBezTo>
                    <a:cubicBezTo>
                      <a:pt x="2936875" y="2528406"/>
                      <a:pt x="2554493" y="2908301"/>
                      <a:pt x="2082800" y="2908301"/>
                    </a:cubicBezTo>
                    <a:cubicBezTo>
                      <a:pt x="1611107" y="2908301"/>
                      <a:pt x="1228725" y="2528406"/>
                      <a:pt x="1228725" y="2059782"/>
                    </a:cubicBezTo>
                    <a:cubicBezTo>
                      <a:pt x="1228725" y="1591158"/>
                      <a:pt x="1611107" y="1211263"/>
                      <a:pt x="2082800" y="1211263"/>
                    </a:cubicBezTo>
                    <a:close/>
                    <a:moveTo>
                      <a:pt x="3934619" y="0"/>
                    </a:moveTo>
                    <a:cubicBezTo>
                      <a:pt x="4036761" y="0"/>
                      <a:pt x="4119563" y="82802"/>
                      <a:pt x="4119563" y="184944"/>
                    </a:cubicBezTo>
                    <a:cubicBezTo>
                      <a:pt x="4119563" y="287086"/>
                      <a:pt x="4036761" y="369888"/>
                      <a:pt x="3934619" y="369888"/>
                    </a:cubicBezTo>
                    <a:cubicBezTo>
                      <a:pt x="3832477" y="369888"/>
                      <a:pt x="3749675" y="287086"/>
                      <a:pt x="3749675" y="184944"/>
                    </a:cubicBezTo>
                    <a:cubicBezTo>
                      <a:pt x="3749675" y="82802"/>
                      <a:pt x="3832477" y="0"/>
                      <a:pt x="3934619" y="0"/>
                    </a:cubicBezTo>
                    <a:close/>
                    <a:moveTo>
                      <a:pt x="190500" y="0"/>
                    </a:moveTo>
                    <a:cubicBezTo>
                      <a:pt x="295710" y="0"/>
                      <a:pt x="381000" y="82802"/>
                      <a:pt x="381000" y="184944"/>
                    </a:cubicBezTo>
                    <a:cubicBezTo>
                      <a:pt x="381000" y="287086"/>
                      <a:pt x="295710" y="369888"/>
                      <a:pt x="190500" y="369888"/>
                    </a:cubicBezTo>
                    <a:cubicBezTo>
                      <a:pt x="85290" y="369888"/>
                      <a:pt x="0" y="287086"/>
                      <a:pt x="0" y="184944"/>
                    </a:cubicBezTo>
                    <a:cubicBezTo>
                      <a:pt x="0" y="82802"/>
                      <a:pt x="85290" y="0"/>
                      <a:pt x="19050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88" name="bcgIcons_ArtificialIntelligence">
            <a:extLst>
              <a:ext uri="{FF2B5EF4-FFF2-40B4-BE49-F238E27FC236}">
                <a16:creationId xmlns:a16="http://schemas.microsoft.com/office/drawing/2014/main" id="{BFFCA9BF-BA86-4E9F-82D9-0F442197B23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42554" y="2915052"/>
            <a:ext cx="697385" cy="698031"/>
            <a:chOff x="1682" y="0"/>
            <a:chExt cx="4316" cy="4320"/>
          </a:xfrm>
        </p:grpSpPr>
        <p:sp>
          <p:nvSpPr>
            <p:cNvPr id="89" name="AutoShape 39">
              <a:extLst>
                <a:ext uri="{FF2B5EF4-FFF2-40B4-BE49-F238E27FC236}">
                  <a16:creationId xmlns:a16="http://schemas.microsoft.com/office/drawing/2014/main" id="{A611F4C5-5377-40D1-BA73-CFE02B4F85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41">
              <a:extLst>
                <a:ext uri="{FF2B5EF4-FFF2-40B4-BE49-F238E27FC236}">
                  <a16:creationId xmlns:a16="http://schemas.microsoft.com/office/drawing/2014/main" id="{C5E4963F-6A16-4CD4-B630-9A1C2E4E0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5" y="465"/>
              <a:ext cx="3387" cy="3390"/>
            </a:xfrm>
            <a:custGeom>
              <a:avLst/>
              <a:gdLst>
                <a:gd name="T0" fmla="*/ 258 w 1808"/>
                <a:gd name="T1" fmla="*/ 1528 h 1808"/>
                <a:gd name="T2" fmla="*/ 1528 w 1808"/>
                <a:gd name="T3" fmla="*/ 258 h 1808"/>
                <a:gd name="T4" fmla="*/ 1528 w 1808"/>
                <a:gd name="T5" fmla="*/ 1550 h 1808"/>
                <a:gd name="T6" fmla="*/ 1506 w 1808"/>
                <a:gd name="T7" fmla="*/ 302 h 1808"/>
                <a:gd name="T8" fmla="*/ 550 w 1808"/>
                <a:gd name="T9" fmla="*/ 180 h 1808"/>
                <a:gd name="T10" fmla="*/ 506 w 1808"/>
                <a:gd name="T11" fmla="*/ 22 h 1808"/>
                <a:gd name="T12" fmla="*/ 550 w 1808"/>
                <a:gd name="T13" fmla="*/ 180 h 1808"/>
                <a:gd name="T14" fmla="*/ 779 w 1808"/>
                <a:gd name="T15" fmla="*/ 0 h 1808"/>
                <a:gd name="T16" fmla="*/ 779 w 1808"/>
                <a:gd name="T17" fmla="*/ 202 h 1808"/>
                <a:gd name="T18" fmla="*/ 1051 w 1808"/>
                <a:gd name="T19" fmla="*/ 22 h 1808"/>
                <a:gd name="T20" fmla="*/ 1007 w 1808"/>
                <a:gd name="T21" fmla="*/ 180 h 1808"/>
                <a:gd name="T22" fmla="*/ 1302 w 1808"/>
                <a:gd name="T23" fmla="*/ 180 h 1808"/>
                <a:gd name="T24" fmla="*/ 1258 w 1808"/>
                <a:gd name="T25" fmla="*/ 22 h 1808"/>
                <a:gd name="T26" fmla="*/ 1302 w 1808"/>
                <a:gd name="T27" fmla="*/ 180 h 1808"/>
                <a:gd name="T28" fmla="*/ 528 w 1808"/>
                <a:gd name="T29" fmla="*/ 1606 h 1808"/>
                <a:gd name="T30" fmla="*/ 528 w 1808"/>
                <a:gd name="T31" fmla="*/ 1808 h 1808"/>
                <a:gd name="T32" fmla="*/ 801 w 1808"/>
                <a:gd name="T33" fmla="*/ 1628 h 1808"/>
                <a:gd name="T34" fmla="*/ 757 w 1808"/>
                <a:gd name="T35" fmla="*/ 1786 h 1808"/>
                <a:gd name="T36" fmla="*/ 1051 w 1808"/>
                <a:gd name="T37" fmla="*/ 1786 h 1808"/>
                <a:gd name="T38" fmla="*/ 1007 w 1808"/>
                <a:gd name="T39" fmla="*/ 1628 h 1808"/>
                <a:gd name="T40" fmla="*/ 1051 w 1808"/>
                <a:gd name="T41" fmla="*/ 1786 h 1808"/>
                <a:gd name="T42" fmla="*/ 1280 w 1808"/>
                <a:gd name="T43" fmla="*/ 1606 h 1808"/>
                <a:gd name="T44" fmla="*/ 1280 w 1808"/>
                <a:gd name="T45" fmla="*/ 1808 h 1808"/>
                <a:gd name="T46" fmla="*/ 1786 w 1808"/>
                <a:gd name="T47" fmla="*/ 506 h 1808"/>
                <a:gd name="T48" fmla="*/ 1628 w 1808"/>
                <a:gd name="T49" fmla="*/ 550 h 1808"/>
                <a:gd name="T50" fmla="*/ 1808 w 1808"/>
                <a:gd name="T51" fmla="*/ 779 h 1808"/>
                <a:gd name="T52" fmla="*/ 1606 w 1808"/>
                <a:gd name="T53" fmla="*/ 779 h 1808"/>
                <a:gd name="T54" fmla="*/ 1808 w 1808"/>
                <a:gd name="T55" fmla="*/ 779 h 1808"/>
                <a:gd name="T56" fmla="*/ 1628 w 1808"/>
                <a:gd name="T57" fmla="*/ 1007 h 1808"/>
                <a:gd name="T58" fmla="*/ 1786 w 1808"/>
                <a:gd name="T59" fmla="*/ 1051 h 1808"/>
                <a:gd name="T60" fmla="*/ 1786 w 1808"/>
                <a:gd name="T61" fmla="*/ 1258 h 1808"/>
                <a:gd name="T62" fmla="*/ 1628 w 1808"/>
                <a:gd name="T63" fmla="*/ 1302 h 1808"/>
                <a:gd name="T64" fmla="*/ 202 w 1808"/>
                <a:gd name="T65" fmla="*/ 528 h 1808"/>
                <a:gd name="T66" fmla="*/ 0 w 1808"/>
                <a:gd name="T67" fmla="*/ 528 h 1808"/>
                <a:gd name="T68" fmla="*/ 202 w 1808"/>
                <a:gd name="T69" fmla="*/ 528 h 1808"/>
                <a:gd name="T70" fmla="*/ 22 w 1808"/>
                <a:gd name="T71" fmla="*/ 757 h 1808"/>
                <a:gd name="T72" fmla="*/ 180 w 1808"/>
                <a:gd name="T73" fmla="*/ 801 h 1808"/>
                <a:gd name="T74" fmla="*/ 180 w 1808"/>
                <a:gd name="T75" fmla="*/ 1007 h 1808"/>
                <a:gd name="T76" fmla="*/ 22 w 1808"/>
                <a:gd name="T77" fmla="*/ 1051 h 1808"/>
                <a:gd name="T78" fmla="*/ 202 w 1808"/>
                <a:gd name="T79" fmla="*/ 1280 h 1808"/>
                <a:gd name="T80" fmla="*/ 0 w 1808"/>
                <a:gd name="T81" fmla="*/ 1280 h 1808"/>
                <a:gd name="T82" fmla="*/ 202 w 1808"/>
                <a:gd name="T83" fmla="*/ 1280 h 1808"/>
                <a:gd name="T84" fmla="*/ 1303 w 1808"/>
                <a:gd name="T85" fmla="*/ 611 h 1808"/>
                <a:gd name="T86" fmla="*/ 913 w 1808"/>
                <a:gd name="T87" fmla="*/ 448 h 1808"/>
                <a:gd name="T88" fmla="*/ 522 w 1808"/>
                <a:gd name="T89" fmla="*/ 611 h 1808"/>
                <a:gd name="T90" fmla="*/ 463 w 1808"/>
                <a:gd name="T91" fmla="*/ 996 h 1808"/>
                <a:gd name="T92" fmla="*/ 677 w 1808"/>
                <a:gd name="T93" fmla="*/ 1339 h 1808"/>
                <a:gd name="T94" fmla="*/ 1001 w 1808"/>
                <a:gd name="T95" fmla="*/ 1408 h 1808"/>
                <a:gd name="T96" fmla="*/ 1362 w 1808"/>
                <a:gd name="T97" fmla="*/ 996 h 1808"/>
                <a:gd name="T98" fmla="*/ 707 w 1808"/>
                <a:gd name="T99" fmla="*/ 1308 h 1808"/>
                <a:gd name="T100" fmla="*/ 548 w 1808"/>
                <a:gd name="T101" fmla="*/ 1126 h 1808"/>
                <a:gd name="T102" fmla="*/ 536 w 1808"/>
                <a:gd name="T103" fmla="*/ 862 h 1808"/>
                <a:gd name="T104" fmla="*/ 640 w 1808"/>
                <a:gd name="T105" fmla="*/ 581 h 1808"/>
                <a:gd name="T106" fmla="*/ 887 w 1808"/>
                <a:gd name="T107" fmla="*/ 485 h 1808"/>
                <a:gd name="T108" fmla="*/ 826 w 1808"/>
                <a:gd name="T109" fmla="*/ 1364 h 1808"/>
                <a:gd name="T110" fmla="*/ 1179 w 1808"/>
                <a:gd name="T111" fmla="*/ 1211 h 1808"/>
                <a:gd name="T112" fmla="*/ 935 w 1808"/>
                <a:gd name="T113" fmla="*/ 489 h 1808"/>
                <a:gd name="T114" fmla="*/ 1170 w 1808"/>
                <a:gd name="T115" fmla="*/ 563 h 1808"/>
                <a:gd name="T116" fmla="*/ 1314 w 1808"/>
                <a:gd name="T117" fmla="*/ 765 h 1808"/>
                <a:gd name="T118" fmla="*/ 1318 w 1808"/>
                <a:gd name="T119" fmla="*/ 996 h 1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08" h="1808">
                  <a:moveTo>
                    <a:pt x="1528" y="1550"/>
                  </a:moveTo>
                  <a:cubicBezTo>
                    <a:pt x="280" y="1550"/>
                    <a:pt x="280" y="1550"/>
                    <a:pt x="280" y="1550"/>
                  </a:cubicBezTo>
                  <a:cubicBezTo>
                    <a:pt x="268" y="1550"/>
                    <a:pt x="258" y="1540"/>
                    <a:pt x="258" y="152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258" y="268"/>
                    <a:pt x="268" y="258"/>
                    <a:pt x="280" y="258"/>
                  </a:cubicBezTo>
                  <a:cubicBezTo>
                    <a:pt x="1528" y="258"/>
                    <a:pt x="1528" y="258"/>
                    <a:pt x="1528" y="258"/>
                  </a:cubicBezTo>
                  <a:cubicBezTo>
                    <a:pt x="1540" y="258"/>
                    <a:pt x="1550" y="268"/>
                    <a:pt x="1550" y="280"/>
                  </a:cubicBezTo>
                  <a:cubicBezTo>
                    <a:pt x="1550" y="1528"/>
                    <a:pt x="1550" y="1528"/>
                    <a:pt x="1550" y="1528"/>
                  </a:cubicBezTo>
                  <a:cubicBezTo>
                    <a:pt x="1550" y="1540"/>
                    <a:pt x="1540" y="1550"/>
                    <a:pt x="1528" y="1550"/>
                  </a:cubicBezTo>
                  <a:close/>
                  <a:moveTo>
                    <a:pt x="302" y="1506"/>
                  </a:moveTo>
                  <a:cubicBezTo>
                    <a:pt x="1506" y="1506"/>
                    <a:pt x="1506" y="1506"/>
                    <a:pt x="1506" y="1506"/>
                  </a:cubicBezTo>
                  <a:cubicBezTo>
                    <a:pt x="1506" y="302"/>
                    <a:pt x="1506" y="302"/>
                    <a:pt x="1506" y="302"/>
                  </a:cubicBezTo>
                  <a:cubicBezTo>
                    <a:pt x="302" y="302"/>
                    <a:pt x="302" y="302"/>
                    <a:pt x="302" y="302"/>
                  </a:cubicBezTo>
                  <a:lnTo>
                    <a:pt x="302" y="1506"/>
                  </a:lnTo>
                  <a:close/>
                  <a:moveTo>
                    <a:pt x="550" y="180"/>
                  </a:moveTo>
                  <a:cubicBezTo>
                    <a:pt x="550" y="22"/>
                    <a:pt x="550" y="22"/>
                    <a:pt x="550" y="22"/>
                  </a:cubicBezTo>
                  <a:cubicBezTo>
                    <a:pt x="550" y="10"/>
                    <a:pt x="540" y="0"/>
                    <a:pt x="528" y="0"/>
                  </a:cubicBezTo>
                  <a:cubicBezTo>
                    <a:pt x="516" y="0"/>
                    <a:pt x="506" y="10"/>
                    <a:pt x="506" y="22"/>
                  </a:cubicBezTo>
                  <a:cubicBezTo>
                    <a:pt x="506" y="180"/>
                    <a:pt x="506" y="180"/>
                    <a:pt x="506" y="180"/>
                  </a:cubicBezTo>
                  <a:cubicBezTo>
                    <a:pt x="506" y="192"/>
                    <a:pt x="516" y="202"/>
                    <a:pt x="528" y="202"/>
                  </a:cubicBezTo>
                  <a:cubicBezTo>
                    <a:pt x="540" y="202"/>
                    <a:pt x="550" y="192"/>
                    <a:pt x="550" y="180"/>
                  </a:cubicBezTo>
                  <a:close/>
                  <a:moveTo>
                    <a:pt x="801" y="180"/>
                  </a:moveTo>
                  <a:cubicBezTo>
                    <a:pt x="801" y="22"/>
                    <a:pt x="801" y="22"/>
                    <a:pt x="801" y="22"/>
                  </a:cubicBezTo>
                  <a:cubicBezTo>
                    <a:pt x="801" y="10"/>
                    <a:pt x="791" y="0"/>
                    <a:pt x="779" y="0"/>
                  </a:cubicBezTo>
                  <a:cubicBezTo>
                    <a:pt x="766" y="0"/>
                    <a:pt x="757" y="10"/>
                    <a:pt x="757" y="22"/>
                  </a:cubicBezTo>
                  <a:cubicBezTo>
                    <a:pt x="757" y="180"/>
                    <a:pt x="757" y="180"/>
                    <a:pt x="757" y="180"/>
                  </a:cubicBezTo>
                  <a:cubicBezTo>
                    <a:pt x="757" y="192"/>
                    <a:pt x="766" y="202"/>
                    <a:pt x="779" y="202"/>
                  </a:cubicBezTo>
                  <a:cubicBezTo>
                    <a:pt x="791" y="202"/>
                    <a:pt x="801" y="192"/>
                    <a:pt x="801" y="180"/>
                  </a:cubicBezTo>
                  <a:close/>
                  <a:moveTo>
                    <a:pt x="1051" y="180"/>
                  </a:moveTo>
                  <a:cubicBezTo>
                    <a:pt x="1051" y="22"/>
                    <a:pt x="1051" y="22"/>
                    <a:pt x="1051" y="22"/>
                  </a:cubicBezTo>
                  <a:cubicBezTo>
                    <a:pt x="1051" y="10"/>
                    <a:pt x="1042" y="0"/>
                    <a:pt x="1029" y="0"/>
                  </a:cubicBezTo>
                  <a:cubicBezTo>
                    <a:pt x="1017" y="0"/>
                    <a:pt x="1007" y="10"/>
                    <a:pt x="1007" y="22"/>
                  </a:cubicBezTo>
                  <a:cubicBezTo>
                    <a:pt x="1007" y="180"/>
                    <a:pt x="1007" y="180"/>
                    <a:pt x="1007" y="180"/>
                  </a:cubicBezTo>
                  <a:cubicBezTo>
                    <a:pt x="1007" y="192"/>
                    <a:pt x="1017" y="202"/>
                    <a:pt x="1029" y="202"/>
                  </a:cubicBezTo>
                  <a:cubicBezTo>
                    <a:pt x="1042" y="202"/>
                    <a:pt x="1051" y="192"/>
                    <a:pt x="1051" y="180"/>
                  </a:cubicBezTo>
                  <a:close/>
                  <a:moveTo>
                    <a:pt x="1302" y="180"/>
                  </a:moveTo>
                  <a:cubicBezTo>
                    <a:pt x="1302" y="22"/>
                    <a:pt x="1302" y="22"/>
                    <a:pt x="1302" y="22"/>
                  </a:cubicBezTo>
                  <a:cubicBezTo>
                    <a:pt x="1302" y="10"/>
                    <a:pt x="1292" y="0"/>
                    <a:pt x="1280" y="0"/>
                  </a:cubicBezTo>
                  <a:cubicBezTo>
                    <a:pt x="1268" y="0"/>
                    <a:pt x="1258" y="10"/>
                    <a:pt x="1258" y="22"/>
                  </a:cubicBezTo>
                  <a:cubicBezTo>
                    <a:pt x="1258" y="180"/>
                    <a:pt x="1258" y="180"/>
                    <a:pt x="1258" y="180"/>
                  </a:cubicBezTo>
                  <a:cubicBezTo>
                    <a:pt x="1258" y="192"/>
                    <a:pt x="1268" y="202"/>
                    <a:pt x="1280" y="202"/>
                  </a:cubicBezTo>
                  <a:cubicBezTo>
                    <a:pt x="1292" y="202"/>
                    <a:pt x="1302" y="192"/>
                    <a:pt x="1302" y="180"/>
                  </a:cubicBezTo>
                  <a:close/>
                  <a:moveTo>
                    <a:pt x="550" y="1786"/>
                  </a:moveTo>
                  <a:cubicBezTo>
                    <a:pt x="550" y="1628"/>
                    <a:pt x="550" y="1628"/>
                    <a:pt x="550" y="1628"/>
                  </a:cubicBezTo>
                  <a:cubicBezTo>
                    <a:pt x="550" y="1616"/>
                    <a:pt x="540" y="1606"/>
                    <a:pt x="528" y="1606"/>
                  </a:cubicBezTo>
                  <a:cubicBezTo>
                    <a:pt x="516" y="1606"/>
                    <a:pt x="506" y="1616"/>
                    <a:pt x="506" y="1628"/>
                  </a:cubicBezTo>
                  <a:cubicBezTo>
                    <a:pt x="506" y="1786"/>
                    <a:pt x="506" y="1786"/>
                    <a:pt x="506" y="1786"/>
                  </a:cubicBezTo>
                  <a:cubicBezTo>
                    <a:pt x="506" y="1798"/>
                    <a:pt x="516" y="1808"/>
                    <a:pt x="528" y="1808"/>
                  </a:cubicBezTo>
                  <a:cubicBezTo>
                    <a:pt x="540" y="1808"/>
                    <a:pt x="550" y="1798"/>
                    <a:pt x="550" y="1786"/>
                  </a:cubicBezTo>
                  <a:close/>
                  <a:moveTo>
                    <a:pt x="801" y="1786"/>
                  </a:moveTo>
                  <a:cubicBezTo>
                    <a:pt x="801" y="1628"/>
                    <a:pt x="801" y="1628"/>
                    <a:pt x="801" y="1628"/>
                  </a:cubicBezTo>
                  <a:cubicBezTo>
                    <a:pt x="801" y="1616"/>
                    <a:pt x="791" y="1606"/>
                    <a:pt x="779" y="1606"/>
                  </a:cubicBezTo>
                  <a:cubicBezTo>
                    <a:pt x="766" y="1606"/>
                    <a:pt x="757" y="1616"/>
                    <a:pt x="757" y="1628"/>
                  </a:cubicBezTo>
                  <a:cubicBezTo>
                    <a:pt x="757" y="1786"/>
                    <a:pt x="757" y="1786"/>
                    <a:pt x="757" y="1786"/>
                  </a:cubicBezTo>
                  <a:cubicBezTo>
                    <a:pt x="757" y="1798"/>
                    <a:pt x="766" y="1808"/>
                    <a:pt x="779" y="1808"/>
                  </a:cubicBezTo>
                  <a:cubicBezTo>
                    <a:pt x="791" y="1808"/>
                    <a:pt x="801" y="1798"/>
                    <a:pt x="801" y="1786"/>
                  </a:cubicBezTo>
                  <a:close/>
                  <a:moveTo>
                    <a:pt x="1051" y="1786"/>
                  </a:moveTo>
                  <a:cubicBezTo>
                    <a:pt x="1051" y="1628"/>
                    <a:pt x="1051" y="1628"/>
                    <a:pt x="1051" y="1628"/>
                  </a:cubicBezTo>
                  <a:cubicBezTo>
                    <a:pt x="1051" y="1616"/>
                    <a:pt x="1042" y="1606"/>
                    <a:pt x="1029" y="1606"/>
                  </a:cubicBezTo>
                  <a:cubicBezTo>
                    <a:pt x="1017" y="1606"/>
                    <a:pt x="1007" y="1616"/>
                    <a:pt x="1007" y="1628"/>
                  </a:cubicBezTo>
                  <a:cubicBezTo>
                    <a:pt x="1007" y="1786"/>
                    <a:pt x="1007" y="1786"/>
                    <a:pt x="1007" y="1786"/>
                  </a:cubicBezTo>
                  <a:cubicBezTo>
                    <a:pt x="1007" y="1798"/>
                    <a:pt x="1017" y="1808"/>
                    <a:pt x="1029" y="1808"/>
                  </a:cubicBezTo>
                  <a:cubicBezTo>
                    <a:pt x="1042" y="1808"/>
                    <a:pt x="1051" y="1798"/>
                    <a:pt x="1051" y="1786"/>
                  </a:cubicBezTo>
                  <a:close/>
                  <a:moveTo>
                    <a:pt x="1302" y="1786"/>
                  </a:moveTo>
                  <a:cubicBezTo>
                    <a:pt x="1302" y="1628"/>
                    <a:pt x="1302" y="1628"/>
                    <a:pt x="1302" y="1628"/>
                  </a:cubicBezTo>
                  <a:cubicBezTo>
                    <a:pt x="1302" y="1616"/>
                    <a:pt x="1292" y="1606"/>
                    <a:pt x="1280" y="1606"/>
                  </a:cubicBezTo>
                  <a:cubicBezTo>
                    <a:pt x="1268" y="1606"/>
                    <a:pt x="1258" y="1616"/>
                    <a:pt x="1258" y="1628"/>
                  </a:cubicBezTo>
                  <a:cubicBezTo>
                    <a:pt x="1258" y="1786"/>
                    <a:pt x="1258" y="1786"/>
                    <a:pt x="1258" y="1786"/>
                  </a:cubicBezTo>
                  <a:cubicBezTo>
                    <a:pt x="1258" y="1798"/>
                    <a:pt x="1268" y="1808"/>
                    <a:pt x="1280" y="1808"/>
                  </a:cubicBezTo>
                  <a:cubicBezTo>
                    <a:pt x="1292" y="1808"/>
                    <a:pt x="1302" y="1798"/>
                    <a:pt x="1302" y="1786"/>
                  </a:cubicBezTo>
                  <a:close/>
                  <a:moveTo>
                    <a:pt x="1808" y="528"/>
                  </a:moveTo>
                  <a:cubicBezTo>
                    <a:pt x="1808" y="516"/>
                    <a:pt x="1798" y="506"/>
                    <a:pt x="1786" y="506"/>
                  </a:cubicBezTo>
                  <a:cubicBezTo>
                    <a:pt x="1628" y="506"/>
                    <a:pt x="1628" y="506"/>
                    <a:pt x="1628" y="506"/>
                  </a:cubicBezTo>
                  <a:cubicBezTo>
                    <a:pt x="1616" y="506"/>
                    <a:pt x="1606" y="516"/>
                    <a:pt x="1606" y="528"/>
                  </a:cubicBezTo>
                  <a:cubicBezTo>
                    <a:pt x="1606" y="540"/>
                    <a:pt x="1616" y="550"/>
                    <a:pt x="1628" y="550"/>
                  </a:cubicBezTo>
                  <a:cubicBezTo>
                    <a:pt x="1786" y="550"/>
                    <a:pt x="1786" y="550"/>
                    <a:pt x="1786" y="550"/>
                  </a:cubicBezTo>
                  <a:cubicBezTo>
                    <a:pt x="1798" y="550"/>
                    <a:pt x="1808" y="540"/>
                    <a:pt x="1808" y="528"/>
                  </a:cubicBezTo>
                  <a:close/>
                  <a:moveTo>
                    <a:pt x="1808" y="779"/>
                  </a:moveTo>
                  <a:cubicBezTo>
                    <a:pt x="1808" y="766"/>
                    <a:pt x="1798" y="757"/>
                    <a:pt x="1786" y="757"/>
                  </a:cubicBezTo>
                  <a:cubicBezTo>
                    <a:pt x="1628" y="757"/>
                    <a:pt x="1628" y="757"/>
                    <a:pt x="1628" y="757"/>
                  </a:cubicBezTo>
                  <a:cubicBezTo>
                    <a:pt x="1616" y="757"/>
                    <a:pt x="1606" y="766"/>
                    <a:pt x="1606" y="779"/>
                  </a:cubicBezTo>
                  <a:cubicBezTo>
                    <a:pt x="1606" y="791"/>
                    <a:pt x="1616" y="801"/>
                    <a:pt x="1628" y="801"/>
                  </a:cubicBezTo>
                  <a:cubicBezTo>
                    <a:pt x="1786" y="801"/>
                    <a:pt x="1786" y="801"/>
                    <a:pt x="1786" y="801"/>
                  </a:cubicBezTo>
                  <a:cubicBezTo>
                    <a:pt x="1798" y="801"/>
                    <a:pt x="1808" y="791"/>
                    <a:pt x="1808" y="779"/>
                  </a:cubicBezTo>
                  <a:close/>
                  <a:moveTo>
                    <a:pt x="1808" y="1029"/>
                  </a:moveTo>
                  <a:cubicBezTo>
                    <a:pt x="1808" y="1017"/>
                    <a:pt x="1798" y="1007"/>
                    <a:pt x="1786" y="1007"/>
                  </a:cubicBezTo>
                  <a:cubicBezTo>
                    <a:pt x="1628" y="1007"/>
                    <a:pt x="1628" y="1007"/>
                    <a:pt x="1628" y="1007"/>
                  </a:cubicBezTo>
                  <a:cubicBezTo>
                    <a:pt x="1616" y="1007"/>
                    <a:pt x="1606" y="1017"/>
                    <a:pt x="1606" y="1029"/>
                  </a:cubicBezTo>
                  <a:cubicBezTo>
                    <a:pt x="1606" y="1042"/>
                    <a:pt x="1616" y="1051"/>
                    <a:pt x="1628" y="1051"/>
                  </a:cubicBezTo>
                  <a:cubicBezTo>
                    <a:pt x="1786" y="1051"/>
                    <a:pt x="1786" y="1051"/>
                    <a:pt x="1786" y="1051"/>
                  </a:cubicBezTo>
                  <a:cubicBezTo>
                    <a:pt x="1798" y="1051"/>
                    <a:pt x="1808" y="1042"/>
                    <a:pt x="1808" y="1029"/>
                  </a:cubicBezTo>
                  <a:close/>
                  <a:moveTo>
                    <a:pt x="1808" y="1280"/>
                  </a:moveTo>
                  <a:cubicBezTo>
                    <a:pt x="1808" y="1268"/>
                    <a:pt x="1798" y="1258"/>
                    <a:pt x="1786" y="1258"/>
                  </a:cubicBezTo>
                  <a:cubicBezTo>
                    <a:pt x="1628" y="1258"/>
                    <a:pt x="1628" y="1258"/>
                    <a:pt x="1628" y="1258"/>
                  </a:cubicBezTo>
                  <a:cubicBezTo>
                    <a:pt x="1616" y="1258"/>
                    <a:pt x="1606" y="1268"/>
                    <a:pt x="1606" y="1280"/>
                  </a:cubicBezTo>
                  <a:cubicBezTo>
                    <a:pt x="1606" y="1292"/>
                    <a:pt x="1616" y="1302"/>
                    <a:pt x="1628" y="1302"/>
                  </a:cubicBezTo>
                  <a:cubicBezTo>
                    <a:pt x="1786" y="1302"/>
                    <a:pt x="1786" y="1302"/>
                    <a:pt x="1786" y="1302"/>
                  </a:cubicBezTo>
                  <a:cubicBezTo>
                    <a:pt x="1798" y="1302"/>
                    <a:pt x="1808" y="1292"/>
                    <a:pt x="1808" y="1280"/>
                  </a:cubicBezTo>
                  <a:close/>
                  <a:moveTo>
                    <a:pt x="202" y="528"/>
                  </a:moveTo>
                  <a:cubicBezTo>
                    <a:pt x="202" y="516"/>
                    <a:pt x="192" y="506"/>
                    <a:pt x="180" y="506"/>
                  </a:cubicBezTo>
                  <a:cubicBezTo>
                    <a:pt x="22" y="506"/>
                    <a:pt x="22" y="506"/>
                    <a:pt x="22" y="506"/>
                  </a:cubicBezTo>
                  <a:cubicBezTo>
                    <a:pt x="10" y="506"/>
                    <a:pt x="0" y="516"/>
                    <a:pt x="0" y="528"/>
                  </a:cubicBezTo>
                  <a:cubicBezTo>
                    <a:pt x="0" y="540"/>
                    <a:pt x="10" y="550"/>
                    <a:pt x="22" y="550"/>
                  </a:cubicBezTo>
                  <a:cubicBezTo>
                    <a:pt x="180" y="550"/>
                    <a:pt x="180" y="550"/>
                    <a:pt x="180" y="550"/>
                  </a:cubicBezTo>
                  <a:cubicBezTo>
                    <a:pt x="192" y="550"/>
                    <a:pt x="202" y="540"/>
                    <a:pt x="202" y="528"/>
                  </a:cubicBezTo>
                  <a:close/>
                  <a:moveTo>
                    <a:pt x="202" y="779"/>
                  </a:moveTo>
                  <a:cubicBezTo>
                    <a:pt x="202" y="766"/>
                    <a:pt x="192" y="757"/>
                    <a:pt x="180" y="757"/>
                  </a:cubicBezTo>
                  <a:cubicBezTo>
                    <a:pt x="22" y="757"/>
                    <a:pt x="22" y="757"/>
                    <a:pt x="22" y="757"/>
                  </a:cubicBezTo>
                  <a:cubicBezTo>
                    <a:pt x="10" y="757"/>
                    <a:pt x="0" y="766"/>
                    <a:pt x="0" y="779"/>
                  </a:cubicBezTo>
                  <a:cubicBezTo>
                    <a:pt x="0" y="791"/>
                    <a:pt x="10" y="801"/>
                    <a:pt x="22" y="801"/>
                  </a:cubicBezTo>
                  <a:cubicBezTo>
                    <a:pt x="180" y="801"/>
                    <a:pt x="180" y="801"/>
                    <a:pt x="180" y="801"/>
                  </a:cubicBezTo>
                  <a:cubicBezTo>
                    <a:pt x="192" y="801"/>
                    <a:pt x="202" y="791"/>
                    <a:pt x="202" y="779"/>
                  </a:cubicBezTo>
                  <a:close/>
                  <a:moveTo>
                    <a:pt x="202" y="1029"/>
                  </a:moveTo>
                  <a:cubicBezTo>
                    <a:pt x="202" y="1017"/>
                    <a:pt x="192" y="1007"/>
                    <a:pt x="180" y="1007"/>
                  </a:cubicBezTo>
                  <a:cubicBezTo>
                    <a:pt x="22" y="1007"/>
                    <a:pt x="22" y="1007"/>
                    <a:pt x="22" y="1007"/>
                  </a:cubicBezTo>
                  <a:cubicBezTo>
                    <a:pt x="10" y="1007"/>
                    <a:pt x="0" y="1017"/>
                    <a:pt x="0" y="1029"/>
                  </a:cubicBezTo>
                  <a:cubicBezTo>
                    <a:pt x="0" y="1042"/>
                    <a:pt x="10" y="1051"/>
                    <a:pt x="22" y="1051"/>
                  </a:cubicBezTo>
                  <a:cubicBezTo>
                    <a:pt x="180" y="1051"/>
                    <a:pt x="180" y="1051"/>
                    <a:pt x="180" y="1051"/>
                  </a:cubicBezTo>
                  <a:cubicBezTo>
                    <a:pt x="192" y="1051"/>
                    <a:pt x="202" y="1042"/>
                    <a:pt x="202" y="1029"/>
                  </a:cubicBezTo>
                  <a:close/>
                  <a:moveTo>
                    <a:pt x="202" y="1280"/>
                  </a:moveTo>
                  <a:cubicBezTo>
                    <a:pt x="202" y="1268"/>
                    <a:pt x="192" y="1258"/>
                    <a:pt x="180" y="1258"/>
                  </a:cubicBezTo>
                  <a:cubicBezTo>
                    <a:pt x="22" y="1258"/>
                    <a:pt x="22" y="1258"/>
                    <a:pt x="22" y="1258"/>
                  </a:cubicBezTo>
                  <a:cubicBezTo>
                    <a:pt x="10" y="1258"/>
                    <a:pt x="0" y="1268"/>
                    <a:pt x="0" y="1280"/>
                  </a:cubicBezTo>
                  <a:cubicBezTo>
                    <a:pt x="0" y="1292"/>
                    <a:pt x="10" y="1302"/>
                    <a:pt x="22" y="1302"/>
                  </a:cubicBezTo>
                  <a:cubicBezTo>
                    <a:pt x="180" y="1302"/>
                    <a:pt x="180" y="1302"/>
                    <a:pt x="180" y="1302"/>
                  </a:cubicBezTo>
                  <a:cubicBezTo>
                    <a:pt x="192" y="1302"/>
                    <a:pt x="202" y="1292"/>
                    <a:pt x="202" y="1280"/>
                  </a:cubicBezTo>
                  <a:close/>
                  <a:moveTo>
                    <a:pt x="1333" y="873"/>
                  </a:moveTo>
                  <a:cubicBezTo>
                    <a:pt x="1350" y="840"/>
                    <a:pt x="1358" y="803"/>
                    <a:pt x="1358" y="765"/>
                  </a:cubicBezTo>
                  <a:cubicBezTo>
                    <a:pt x="1358" y="708"/>
                    <a:pt x="1339" y="654"/>
                    <a:pt x="1303" y="611"/>
                  </a:cubicBezTo>
                  <a:cubicBezTo>
                    <a:pt x="1278" y="581"/>
                    <a:pt x="1247" y="558"/>
                    <a:pt x="1211" y="544"/>
                  </a:cubicBezTo>
                  <a:cubicBezTo>
                    <a:pt x="1194" y="458"/>
                    <a:pt x="1121" y="396"/>
                    <a:pt x="1036" y="396"/>
                  </a:cubicBezTo>
                  <a:cubicBezTo>
                    <a:pt x="990" y="396"/>
                    <a:pt x="946" y="414"/>
                    <a:pt x="913" y="448"/>
                  </a:cubicBezTo>
                  <a:cubicBezTo>
                    <a:pt x="879" y="414"/>
                    <a:pt x="835" y="396"/>
                    <a:pt x="789" y="396"/>
                  </a:cubicBezTo>
                  <a:cubicBezTo>
                    <a:pt x="704" y="396"/>
                    <a:pt x="631" y="458"/>
                    <a:pt x="614" y="544"/>
                  </a:cubicBezTo>
                  <a:cubicBezTo>
                    <a:pt x="578" y="558"/>
                    <a:pt x="547" y="581"/>
                    <a:pt x="522" y="611"/>
                  </a:cubicBezTo>
                  <a:cubicBezTo>
                    <a:pt x="487" y="654"/>
                    <a:pt x="467" y="708"/>
                    <a:pt x="467" y="765"/>
                  </a:cubicBezTo>
                  <a:cubicBezTo>
                    <a:pt x="467" y="803"/>
                    <a:pt x="476" y="840"/>
                    <a:pt x="492" y="873"/>
                  </a:cubicBezTo>
                  <a:cubicBezTo>
                    <a:pt x="473" y="910"/>
                    <a:pt x="463" y="952"/>
                    <a:pt x="463" y="996"/>
                  </a:cubicBezTo>
                  <a:cubicBezTo>
                    <a:pt x="463" y="1053"/>
                    <a:pt x="480" y="1107"/>
                    <a:pt x="513" y="1152"/>
                  </a:cubicBezTo>
                  <a:cubicBezTo>
                    <a:pt x="537" y="1186"/>
                    <a:pt x="570" y="1214"/>
                    <a:pt x="607" y="1232"/>
                  </a:cubicBezTo>
                  <a:cubicBezTo>
                    <a:pt x="618" y="1270"/>
                    <a:pt x="643" y="1307"/>
                    <a:pt x="677" y="1339"/>
                  </a:cubicBezTo>
                  <a:cubicBezTo>
                    <a:pt x="723" y="1383"/>
                    <a:pt x="777" y="1408"/>
                    <a:pt x="826" y="1408"/>
                  </a:cubicBezTo>
                  <a:cubicBezTo>
                    <a:pt x="863" y="1408"/>
                    <a:pt x="895" y="1391"/>
                    <a:pt x="914" y="1363"/>
                  </a:cubicBezTo>
                  <a:cubicBezTo>
                    <a:pt x="934" y="1389"/>
                    <a:pt x="964" y="1408"/>
                    <a:pt x="1001" y="1408"/>
                  </a:cubicBezTo>
                  <a:cubicBezTo>
                    <a:pt x="1089" y="1408"/>
                    <a:pt x="1190" y="1325"/>
                    <a:pt x="1218" y="1232"/>
                  </a:cubicBezTo>
                  <a:cubicBezTo>
                    <a:pt x="1256" y="1214"/>
                    <a:pt x="1288" y="1186"/>
                    <a:pt x="1313" y="1152"/>
                  </a:cubicBezTo>
                  <a:cubicBezTo>
                    <a:pt x="1345" y="1107"/>
                    <a:pt x="1362" y="1053"/>
                    <a:pt x="1362" y="996"/>
                  </a:cubicBezTo>
                  <a:cubicBezTo>
                    <a:pt x="1362" y="952"/>
                    <a:pt x="1352" y="910"/>
                    <a:pt x="1333" y="873"/>
                  </a:cubicBezTo>
                  <a:close/>
                  <a:moveTo>
                    <a:pt x="826" y="1364"/>
                  </a:moveTo>
                  <a:cubicBezTo>
                    <a:pt x="788" y="1364"/>
                    <a:pt x="745" y="1343"/>
                    <a:pt x="707" y="1308"/>
                  </a:cubicBezTo>
                  <a:cubicBezTo>
                    <a:pt x="676" y="1278"/>
                    <a:pt x="655" y="1244"/>
                    <a:pt x="647" y="1211"/>
                  </a:cubicBezTo>
                  <a:cubicBezTo>
                    <a:pt x="645" y="1204"/>
                    <a:pt x="640" y="1199"/>
                    <a:pt x="634" y="1196"/>
                  </a:cubicBezTo>
                  <a:cubicBezTo>
                    <a:pt x="600" y="1181"/>
                    <a:pt x="570" y="1157"/>
                    <a:pt x="548" y="1126"/>
                  </a:cubicBezTo>
                  <a:cubicBezTo>
                    <a:pt x="521" y="1089"/>
                    <a:pt x="507" y="1043"/>
                    <a:pt x="507" y="996"/>
                  </a:cubicBezTo>
                  <a:cubicBezTo>
                    <a:pt x="507" y="956"/>
                    <a:pt x="517" y="917"/>
                    <a:pt x="536" y="884"/>
                  </a:cubicBezTo>
                  <a:cubicBezTo>
                    <a:pt x="540" y="877"/>
                    <a:pt x="540" y="869"/>
                    <a:pt x="536" y="862"/>
                  </a:cubicBezTo>
                  <a:cubicBezTo>
                    <a:pt x="520" y="833"/>
                    <a:pt x="511" y="799"/>
                    <a:pt x="511" y="765"/>
                  </a:cubicBezTo>
                  <a:cubicBezTo>
                    <a:pt x="511" y="719"/>
                    <a:pt x="527" y="674"/>
                    <a:pt x="556" y="639"/>
                  </a:cubicBezTo>
                  <a:cubicBezTo>
                    <a:pt x="578" y="611"/>
                    <a:pt x="607" y="592"/>
                    <a:pt x="640" y="581"/>
                  </a:cubicBezTo>
                  <a:cubicBezTo>
                    <a:pt x="648" y="579"/>
                    <a:pt x="654" y="572"/>
                    <a:pt x="655" y="563"/>
                  </a:cubicBezTo>
                  <a:cubicBezTo>
                    <a:pt x="664" y="493"/>
                    <a:pt x="722" y="440"/>
                    <a:pt x="789" y="440"/>
                  </a:cubicBezTo>
                  <a:cubicBezTo>
                    <a:pt x="826" y="440"/>
                    <a:pt x="862" y="456"/>
                    <a:pt x="887" y="485"/>
                  </a:cubicBezTo>
                  <a:cubicBezTo>
                    <a:pt x="891" y="489"/>
                    <a:pt x="891" y="489"/>
                    <a:pt x="891" y="489"/>
                  </a:cubicBezTo>
                  <a:cubicBezTo>
                    <a:pt x="891" y="1301"/>
                    <a:pt x="891" y="1301"/>
                    <a:pt x="891" y="1301"/>
                  </a:cubicBezTo>
                  <a:cubicBezTo>
                    <a:pt x="887" y="1339"/>
                    <a:pt x="861" y="1364"/>
                    <a:pt x="826" y="1364"/>
                  </a:cubicBezTo>
                  <a:close/>
                  <a:moveTo>
                    <a:pt x="1277" y="1126"/>
                  </a:moveTo>
                  <a:cubicBezTo>
                    <a:pt x="1255" y="1157"/>
                    <a:pt x="1225" y="1181"/>
                    <a:pt x="1191" y="1196"/>
                  </a:cubicBezTo>
                  <a:cubicBezTo>
                    <a:pt x="1185" y="1199"/>
                    <a:pt x="1180" y="1204"/>
                    <a:pt x="1179" y="1211"/>
                  </a:cubicBezTo>
                  <a:cubicBezTo>
                    <a:pt x="1160" y="1288"/>
                    <a:pt x="1072" y="1364"/>
                    <a:pt x="1001" y="1364"/>
                  </a:cubicBezTo>
                  <a:cubicBezTo>
                    <a:pt x="965" y="1364"/>
                    <a:pt x="938" y="1331"/>
                    <a:pt x="935" y="1300"/>
                  </a:cubicBezTo>
                  <a:cubicBezTo>
                    <a:pt x="935" y="489"/>
                    <a:pt x="935" y="489"/>
                    <a:pt x="935" y="489"/>
                  </a:cubicBezTo>
                  <a:cubicBezTo>
                    <a:pt x="938" y="485"/>
                    <a:pt x="938" y="485"/>
                    <a:pt x="938" y="485"/>
                  </a:cubicBezTo>
                  <a:cubicBezTo>
                    <a:pt x="963" y="456"/>
                    <a:pt x="999" y="440"/>
                    <a:pt x="1036" y="440"/>
                  </a:cubicBezTo>
                  <a:cubicBezTo>
                    <a:pt x="1103" y="440"/>
                    <a:pt x="1161" y="493"/>
                    <a:pt x="1170" y="563"/>
                  </a:cubicBezTo>
                  <a:cubicBezTo>
                    <a:pt x="1171" y="572"/>
                    <a:pt x="1177" y="579"/>
                    <a:pt x="1185" y="581"/>
                  </a:cubicBezTo>
                  <a:cubicBezTo>
                    <a:pt x="1218" y="592"/>
                    <a:pt x="1247" y="611"/>
                    <a:pt x="1269" y="639"/>
                  </a:cubicBezTo>
                  <a:cubicBezTo>
                    <a:pt x="1298" y="674"/>
                    <a:pt x="1314" y="719"/>
                    <a:pt x="1314" y="765"/>
                  </a:cubicBezTo>
                  <a:cubicBezTo>
                    <a:pt x="1314" y="799"/>
                    <a:pt x="1305" y="833"/>
                    <a:pt x="1289" y="862"/>
                  </a:cubicBezTo>
                  <a:cubicBezTo>
                    <a:pt x="1285" y="869"/>
                    <a:pt x="1285" y="877"/>
                    <a:pt x="1289" y="884"/>
                  </a:cubicBezTo>
                  <a:cubicBezTo>
                    <a:pt x="1308" y="917"/>
                    <a:pt x="1318" y="956"/>
                    <a:pt x="1318" y="996"/>
                  </a:cubicBezTo>
                  <a:cubicBezTo>
                    <a:pt x="1318" y="1043"/>
                    <a:pt x="1304" y="1089"/>
                    <a:pt x="1277" y="11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42">
              <a:extLst>
                <a:ext uri="{FF2B5EF4-FFF2-40B4-BE49-F238E27FC236}">
                  <a16:creationId xmlns:a16="http://schemas.microsoft.com/office/drawing/2014/main" id="{1A6CD91A-E936-4EAD-80F5-1379714696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7" y="1373"/>
              <a:ext cx="1354" cy="1567"/>
            </a:xfrm>
            <a:custGeom>
              <a:avLst/>
              <a:gdLst>
                <a:gd name="T0" fmla="*/ 296 w 723"/>
                <a:gd name="T1" fmla="*/ 815 h 836"/>
                <a:gd name="T2" fmla="*/ 186 w 723"/>
                <a:gd name="T3" fmla="*/ 792 h 836"/>
                <a:gd name="T4" fmla="*/ 138 w 723"/>
                <a:gd name="T5" fmla="*/ 715 h 836"/>
                <a:gd name="T6" fmla="*/ 186 w 723"/>
                <a:gd name="T7" fmla="*/ 695 h 836"/>
                <a:gd name="T8" fmla="*/ 8 w 723"/>
                <a:gd name="T9" fmla="*/ 565 h 836"/>
                <a:gd name="T10" fmla="*/ 23 w 723"/>
                <a:gd name="T11" fmla="*/ 422 h 836"/>
                <a:gd name="T12" fmla="*/ 86 w 723"/>
                <a:gd name="T13" fmla="*/ 362 h 836"/>
                <a:gd name="T14" fmla="*/ 151 w 723"/>
                <a:gd name="T15" fmla="*/ 439 h 836"/>
                <a:gd name="T16" fmla="*/ 163 w 723"/>
                <a:gd name="T17" fmla="*/ 399 h 836"/>
                <a:gd name="T18" fmla="*/ 133 w 723"/>
                <a:gd name="T19" fmla="*/ 256 h 836"/>
                <a:gd name="T20" fmla="*/ 83 w 723"/>
                <a:gd name="T21" fmla="*/ 315 h 836"/>
                <a:gd name="T22" fmla="*/ 4 w 723"/>
                <a:gd name="T23" fmla="*/ 281 h 836"/>
                <a:gd name="T24" fmla="*/ 102 w 723"/>
                <a:gd name="T25" fmla="*/ 139 h 836"/>
                <a:gd name="T26" fmla="*/ 145 w 723"/>
                <a:gd name="T27" fmla="*/ 127 h 836"/>
                <a:gd name="T28" fmla="*/ 254 w 723"/>
                <a:gd name="T29" fmla="*/ 139 h 836"/>
                <a:gd name="T30" fmla="*/ 148 w 723"/>
                <a:gd name="T31" fmla="*/ 83 h 836"/>
                <a:gd name="T32" fmla="*/ 296 w 723"/>
                <a:gd name="T33" fmla="*/ 22 h 836"/>
                <a:gd name="T34" fmla="*/ 281 w 723"/>
                <a:gd name="T35" fmla="*/ 529 h 836"/>
                <a:gd name="T36" fmla="*/ 127 w 723"/>
                <a:gd name="T37" fmla="*/ 575 h 836"/>
                <a:gd name="T38" fmla="*/ 193 w 723"/>
                <a:gd name="T39" fmla="*/ 611 h 836"/>
                <a:gd name="T40" fmla="*/ 545 w 723"/>
                <a:gd name="T41" fmla="*/ 732 h 836"/>
                <a:gd name="T42" fmla="*/ 545 w 723"/>
                <a:gd name="T43" fmla="*/ 688 h 836"/>
                <a:gd name="T44" fmla="*/ 623 w 723"/>
                <a:gd name="T45" fmla="*/ 672 h 836"/>
                <a:gd name="T46" fmla="*/ 723 w 723"/>
                <a:gd name="T47" fmla="*/ 512 h 836"/>
                <a:gd name="T48" fmla="*/ 589 w 723"/>
                <a:gd name="T49" fmla="*/ 468 h 836"/>
                <a:gd name="T50" fmla="*/ 491 w 723"/>
                <a:gd name="T51" fmla="*/ 534 h 836"/>
                <a:gd name="T52" fmla="*/ 466 w 723"/>
                <a:gd name="T53" fmla="*/ 515 h 836"/>
                <a:gd name="T54" fmla="*/ 562 w 723"/>
                <a:gd name="T55" fmla="*/ 390 h 836"/>
                <a:gd name="T56" fmla="*/ 606 w 723"/>
                <a:gd name="T57" fmla="*/ 384 h 836"/>
                <a:gd name="T58" fmla="*/ 683 w 723"/>
                <a:gd name="T59" fmla="*/ 386 h 836"/>
                <a:gd name="T60" fmla="*/ 719 w 723"/>
                <a:gd name="T61" fmla="*/ 281 h 836"/>
                <a:gd name="T62" fmla="*/ 621 w 723"/>
                <a:gd name="T63" fmla="*/ 139 h 836"/>
                <a:gd name="T64" fmla="*/ 585 w 723"/>
                <a:gd name="T65" fmla="*/ 132 h 836"/>
                <a:gd name="T66" fmla="*/ 483 w 723"/>
                <a:gd name="T67" fmla="*/ 142 h 836"/>
                <a:gd name="T68" fmla="*/ 576 w 723"/>
                <a:gd name="T69" fmla="*/ 88 h 836"/>
                <a:gd name="T70" fmla="*/ 485 w 723"/>
                <a:gd name="T71" fmla="*/ 0 h 836"/>
                <a:gd name="T72" fmla="*/ 428 w 723"/>
                <a:gd name="T73" fmla="*/ 239 h 836"/>
                <a:gd name="T74" fmla="*/ 595 w 723"/>
                <a:gd name="T75" fmla="*/ 241 h 836"/>
                <a:gd name="T76" fmla="*/ 440 w 723"/>
                <a:gd name="T77" fmla="*/ 287 h 836"/>
                <a:gd name="T78" fmla="*/ 428 w 723"/>
                <a:gd name="T79" fmla="*/ 813 h 836"/>
                <a:gd name="T80" fmla="*/ 581 w 723"/>
                <a:gd name="T81" fmla="*/ 729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23" h="836">
                  <a:moveTo>
                    <a:pt x="296" y="575"/>
                  </a:moveTo>
                  <a:cubicBezTo>
                    <a:pt x="296" y="815"/>
                    <a:pt x="296" y="815"/>
                    <a:pt x="296" y="815"/>
                  </a:cubicBezTo>
                  <a:cubicBezTo>
                    <a:pt x="294" y="825"/>
                    <a:pt x="290" y="836"/>
                    <a:pt x="275" y="836"/>
                  </a:cubicBezTo>
                  <a:cubicBezTo>
                    <a:pt x="249" y="836"/>
                    <a:pt x="215" y="819"/>
                    <a:pt x="186" y="792"/>
                  </a:cubicBezTo>
                  <a:cubicBezTo>
                    <a:pt x="162" y="768"/>
                    <a:pt x="144" y="741"/>
                    <a:pt x="138" y="716"/>
                  </a:cubicBezTo>
                  <a:cubicBezTo>
                    <a:pt x="138" y="715"/>
                    <a:pt x="138" y="715"/>
                    <a:pt x="138" y="715"/>
                  </a:cubicBezTo>
                  <a:cubicBezTo>
                    <a:pt x="146" y="716"/>
                    <a:pt x="155" y="717"/>
                    <a:pt x="164" y="717"/>
                  </a:cubicBezTo>
                  <a:cubicBezTo>
                    <a:pt x="176" y="717"/>
                    <a:pt x="186" y="707"/>
                    <a:pt x="186" y="695"/>
                  </a:cubicBezTo>
                  <a:cubicBezTo>
                    <a:pt x="186" y="683"/>
                    <a:pt x="176" y="673"/>
                    <a:pt x="164" y="673"/>
                  </a:cubicBezTo>
                  <a:cubicBezTo>
                    <a:pt x="92" y="673"/>
                    <a:pt x="31" y="628"/>
                    <a:pt x="8" y="565"/>
                  </a:cubicBezTo>
                  <a:cubicBezTo>
                    <a:pt x="2" y="548"/>
                    <a:pt x="0" y="530"/>
                    <a:pt x="0" y="512"/>
                  </a:cubicBezTo>
                  <a:cubicBezTo>
                    <a:pt x="0" y="479"/>
                    <a:pt x="8" y="449"/>
                    <a:pt x="23" y="422"/>
                  </a:cubicBezTo>
                  <a:cubicBezTo>
                    <a:pt x="30" y="410"/>
                    <a:pt x="30" y="410"/>
                    <a:pt x="30" y="410"/>
                  </a:cubicBezTo>
                  <a:cubicBezTo>
                    <a:pt x="45" y="390"/>
                    <a:pt x="64" y="374"/>
                    <a:pt x="86" y="362"/>
                  </a:cubicBezTo>
                  <a:cubicBezTo>
                    <a:pt x="93" y="391"/>
                    <a:pt x="111" y="418"/>
                    <a:pt x="139" y="435"/>
                  </a:cubicBezTo>
                  <a:cubicBezTo>
                    <a:pt x="142" y="438"/>
                    <a:pt x="146" y="439"/>
                    <a:pt x="151" y="439"/>
                  </a:cubicBezTo>
                  <a:cubicBezTo>
                    <a:pt x="158" y="439"/>
                    <a:pt x="165" y="435"/>
                    <a:pt x="169" y="429"/>
                  </a:cubicBezTo>
                  <a:cubicBezTo>
                    <a:pt x="176" y="419"/>
                    <a:pt x="173" y="405"/>
                    <a:pt x="163" y="399"/>
                  </a:cubicBezTo>
                  <a:cubicBezTo>
                    <a:pt x="125" y="374"/>
                    <a:pt x="115" y="324"/>
                    <a:pt x="139" y="287"/>
                  </a:cubicBezTo>
                  <a:cubicBezTo>
                    <a:pt x="146" y="276"/>
                    <a:pt x="143" y="263"/>
                    <a:pt x="133" y="256"/>
                  </a:cubicBezTo>
                  <a:cubicBezTo>
                    <a:pt x="122" y="250"/>
                    <a:pt x="109" y="252"/>
                    <a:pt x="102" y="263"/>
                  </a:cubicBezTo>
                  <a:cubicBezTo>
                    <a:pt x="91" y="279"/>
                    <a:pt x="85" y="297"/>
                    <a:pt x="83" y="315"/>
                  </a:cubicBezTo>
                  <a:cubicBezTo>
                    <a:pt x="60" y="324"/>
                    <a:pt x="39" y="337"/>
                    <a:pt x="22" y="354"/>
                  </a:cubicBezTo>
                  <a:cubicBezTo>
                    <a:pt x="10" y="331"/>
                    <a:pt x="4" y="307"/>
                    <a:pt x="4" y="281"/>
                  </a:cubicBezTo>
                  <a:cubicBezTo>
                    <a:pt x="4" y="245"/>
                    <a:pt x="16" y="210"/>
                    <a:pt x="39" y="183"/>
                  </a:cubicBezTo>
                  <a:cubicBezTo>
                    <a:pt x="56" y="162"/>
                    <a:pt x="78" y="147"/>
                    <a:pt x="102" y="139"/>
                  </a:cubicBezTo>
                  <a:cubicBezTo>
                    <a:pt x="140" y="127"/>
                    <a:pt x="140" y="127"/>
                    <a:pt x="140" y="127"/>
                  </a:cubicBezTo>
                  <a:cubicBezTo>
                    <a:pt x="142" y="127"/>
                    <a:pt x="143" y="127"/>
                    <a:pt x="145" y="127"/>
                  </a:cubicBezTo>
                  <a:cubicBezTo>
                    <a:pt x="173" y="127"/>
                    <a:pt x="200" y="134"/>
                    <a:pt x="224" y="148"/>
                  </a:cubicBezTo>
                  <a:cubicBezTo>
                    <a:pt x="234" y="154"/>
                    <a:pt x="248" y="150"/>
                    <a:pt x="254" y="139"/>
                  </a:cubicBezTo>
                  <a:cubicBezTo>
                    <a:pt x="260" y="129"/>
                    <a:pt x="256" y="115"/>
                    <a:pt x="245" y="109"/>
                  </a:cubicBezTo>
                  <a:cubicBezTo>
                    <a:pt x="216" y="93"/>
                    <a:pt x="182" y="84"/>
                    <a:pt x="148" y="83"/>
                  </a:cubicBezTo>
                  <a:cubicBezTo>
                    <a:pt x="155" y="35"/>
                    <a:pt x="193" y="0"/>
                    <a:pt x="238" y="0"/>
                  </a:cubicBezTo>
                  <a:cubicBezTo>
                    <a:pt x="259" y="0"/>
                    <a:pt x="279" y="8"/>
                    <a:pt x="296" y="22"/>
                  </a:cubicBezTo>
                  <a:cubicBezTo>
                    <a:pt x="296" y="511"/>
                    <a:pt x="296" y="511"/>
                    <a:pt x="296" y="511"/>
                  </a:cubicBezTo>
                  <a:cubicBezTo>
                    <a:pt x="291" y="517"/>
                    <a:pt x="287" y="523"/>
                    <a:pt x="281" y="529"/>
                  </a:cubicBezTo>
                  <a:cubicBezTo>
                    <a:pt x="249" y="563"/>
                    <a:pt x="199" y="576"/>
                    <a:pt x="154" y="561"/>
                  </a:cubicBezTo>
                  <a:cubicBezTo>
                    <a:pt x="143" y="557"/>
                    <a:pt x="130" y="563"/>
                    <a:pt x="127" y="575"/>
                  </a:cubicBezTo>
                  <a:cubicBezTo>
                    <a:pt x="123" y="586"/>
                    <a:pt x="129" y="598"/>
                    <a:pt x="140" y="602"/>
                  </a:cubicBezTo>
                  <a:cubicBezTo>
                    <a:pt x="158" y="608"/>
                    <a:pt x="175" y="611"/>
                    <a:pt x="193" y="611"/>
                  </a:cubicBezTo>
                  <a:cubicBezTo>
                    <a:pt x="230" y="611"/>
                    <a:pt x="266" y="598"/>
                    <a:pt x="296" y="575"/>
                  </a:cubicBezTo>
                  <a:close/>
                  <a:moveTo>
                    <a:pt x="545" y="732"/>
                  </a:moveTo>
                  <a:cubicBezTo>
                    <a:pt x="532" y="732"/>
                    <a:pt x="523" y="722"/>
                    <a:pt x="523" y="710"/>
                  </a:cubicBezTo>
                  <a:cubicBezTo>
                    <a:pt x="523" y="698"/>
                    <a:pt x="532" y="688"/>
                    <a:pt x="545" y="688"/>
                  </a:cubicBezTo>
                  <a:cubicBezTo>
                    <a:pt x="569" y="688"/>
                    <a:pt x="593" y="683"/>
                    <a:pt x="615" y="675"/>
                  </a:cubicBezTo>
                  <a:cubicBezTo>
                    <a:pt x="623" y="672"/>
                    <a:pt x="623" y="672"/>
                    <a:pt x="623" y="672"/>
                  </a:cubicBezTo>
                  <a:cubicBezTo>
                    <a:pt x="649" y="660"/>
                    <a:pt x="673" y="641"/>
                    <a:pt x="690" y="617"/>
                  </a:cubicBezTo>
                  <a:cubicBezTo>
                    <a:pt x="712" y="586"/>
                    <a:pt x="723" y="550"/>
                    <a:pt x="723" y="512"/>
                  </a:cubicBezTo>
                  <a:cubicBezTo>
                    <a:pt x="723" y="481"/>
                    <a:pt x="716" y="453"/>
                    <a:pt x="703" y="427"/>
                  </a:cubicBezTo>
                  <a:cubicBezTo>
                    <a:pt x="671" y="452"/>
                    <a:pt x="632" y="467"/>
                    <a:pt x="589" y="468"/>
                  </a:cubicBezTo>
                  <a:cubicBezTo>
                    <a:pt x="586" y="473"/>
                    <a:pt x="583" y="478"/>
                    <a:pt x="579" y="483"/>
                  </a:cubicBezTo>
                  <a:cubicBezTo>
                    <a:pt x="558" y="511"/>
                    <a:pt x="526" y="529"/>
                    <a:pt x="491" y="534"/>
                  </a:cubicBezTo>
                  <a:cubicBezTo>
                    <a:pt x="490" y="534"/>
                    <a:pt x="489" y="534"/>
                    <a:pt x="488" y="534"/>
                  </a:cubicBezTo>
                  <a:cubicBezTo>
                    <a:pt x="477" y="534"/>
                    <a:pt x="468" y="526"/>
                    <a:pt x="466" y="515"/>
                  </a:cubicBezTo>
                  <a:cubicBezTo>
                    <a:pt x="465" y="503"/>
                    <a:pt x="473" y="492"/>
                    <a:pt x="485" y="490"/>
                  </a:cubicBezTo>
                  <a:cubicBezTo>
                    <a:pt x="534" y="484"/>
                    <a:pt x="569" y="439"/>
                    <a:pt x="562" y="390"/>
                  </a:cubicBezTo>
                  <a:cubicBezTo>
                    <a:pt x="561" y="378"/>
                    <a:pt x="569" y="367"/>
                    <a:pt x="581" y="365"/>
                  </a:cubicBezTo>
                  <a:cubicBezTo>
                    <a:pt x="594" y="363"/>
                    <a:pt x="605" y="372"/>
                    <a:pt x="606" y="384"/>
                  </a:cubicBezTo>
                  <a:cubicBezTo>
                    <a:pt x="608" y="397"/>
                    <a:pt x="608" y="410"/>
                    <a:pt x="606" y="423"/>
                  </a:cubicBezTo>
                  <a:cubicBezTo>
                    <a:pt x="635" y="419"/>
                    <a:pt x="662" y="405"/>
                    <a:pt x="683" y="386"/>
                  </a:cubicBezTo>
                  <a:cubicBezTo>
                    <a:pt x="700" y="357"/>
                    <a:pt x="700" y="357"/>
                    <a:pt x="700" y="357"/>
                  </a:cubicBezTo>
                  <a:cubicBezTo>
                    <a:pt x="713" y="334"/>
                    <a:pt x="719" y="308"/>
                    <a:pt x="719" y="281"/>
                  </a:cubicBezTo>
                  <a:cubicBezTo>
                    <a:pt x="719" y="245"/>
                    <a:pt x="707" y="210"/>
                    <a:pt x="684" y="183"/>
                  </a:cubicBezTo>
                  <a:cubicBezTo>
                    <a:pt x="667" y="162"/>
                    <a:pt x="645" y="147"/>
                    <a:pt x="621" y="139"/>
                  </a:cubicBezTo>
                  <a:cubicBezTo>
                    <a:pt x="600" y="132"/>
                    <a:pt x="600" y="132"/>
                    <a:pt x="600" y="132"/>
                  </a:cubicBezTo>
                  <a:cubicBezTo>
                    <a:pt x="595" y="132"/>
                    <a:pt x="590" y="132"/>
                    <a:pt x="585" y="132"/>
                  </a:cubicBezTo>
                  <a:cubicBezTo>
                    <a:pt x="560" y="132"/>
                    <a:pt x="535" y="138"/>
                    <a:pt x="513" y="151"/>
                  </a:cubicBezTo>
                  <a:cubicBezTo>
                    <a:pt x="502" y="157"/>
                    <a:pt x="489" y="153"/>
                    <a:pt x="483" y="142"/>
                  </a:cubicBezTo>
                  <a:cubicBezTo>
                    <a:pt x="477" y="132"/>
                    <a:pt x="481" y="118"/>
                    <a:pt x="491" y="112"/>
                  </a:cubicBezTo>
                  <a:cubicBezTo>
                    <a:pt x="517" y="98"/>
                    <a:pt x="546" y="89"/>
                    <a:pt x="576" y="88"/>
                  </a:cubicBezTo>
                  <a:cubicBezTo>
                    <a:pt x="575" y="85"/>
                    <a:pt x="575" y="85"/>
                    <a:pt x="575" y="85"/>
                  </a:cubicBezTo>
                  <a:cubicBezTo>
                    <a:pt x="569" y="36"/>
                    <a:pt x="530" y="0"/>
                    <a:pt x="485" y="0"/>
                  </a:cubicBezTo>
                  <a:cubicBezTo>
                    <a:pt x="464" y="0"/>
                    <a:pt x="444" y="8"/>
                    <a:pt x="428" y="22"/>
                  </a:cubicBezTo>
                  <a:cubicBezTo>
                    <a:pt x="428" y="239"/>
                    <a:pt x="428" y="239"/>
                    <a:pt x="428" y="239"/>
                  </a:cubicBezTo>
                  <a:cubicBezTo>
                    <a:pt x="471" y="206"/>
                    <a:pt x="529" y="196"/>
                    <a:pt x="581" y="213"/>
                  </a:cubicBezTo>
                  <a:cubicBezTo>
                    <a:pt x="593" y="217"/>
                    <a:pt x="599" y="230"/>
                    <a:pt x="595" y="241"/>
                  </a:cubicBezTo>
                  <a:cubicBezTo>
                    <a:pt x="591" y="253"/>
                    <a:pt x="579" y="259"/>
                    <a:pt x="567" y="255"/>
                  </a:cubicBezTo>
                  <a:cubicBezTo>
                    <a:pt x="523" y="240"/>
                    <a:pt x="473" y="253"/>
                    <a:pt x="440" y="287"/>
                  </a:cubicBezTo>
                  <a:cubicBezTo>
                    <a:pt x="436" y="292"/>
                    <a:pt x="431" y="297"/>
                    <a:pt x="428" y="303"/>
                  </a:cubicBezTo>
                  <a:cubicBezTo>
                    <a:pt x="428" y="813"/>
                    <a:pt x="428" y="813"/>
                    <a:pt x="428" y="813"/>
                  </a:cubicBezTo>
                  <a:cubicBezTo>
                    <a:pt x="430" y="823"/>
                    <a:pt x="439" y="836"/>
                    <a:pt x="450" y="836"/>
                  </a:cubicBezTo>
                  <a:cubicBezTo>
                    <a:pt x="497" y="836"/>
                    <a:pt x="561" y="782"/>
                    <a:pt x="581" y="729"/>
                  </a:cubicBezTo>
                  <a:cubicBezTo>
                    <a:pt x="569" y="731"/>
                    <a:pt x="557" y="732"/>
                    <a:pt x="545" y="73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172093" y="1757932"/>
            <a:ext cx="5864015" cy="473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1200" i="1" dirty="0">
                <a:solidFill>
                  <a:srgbClr val="29BA74"/>
                </a:solidFill>
              </a:rPr>
              <a:t>Προώθηση της αειφόρου ανάπτυξης αξιοποιώντας τα ανταγωνιστικά πλεονεκτήματα της εκάστοτε περιοχής, με στόχο την ευημερία και βελτίωση της ζωής των πολιτών</a:t>
            </a:r>
            <a:endParaRPr lang="en-US" sz="1200" i="1" dirty="0">
              <a:solidFill>
                <a:srgbClr val="29BA74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81A95DE-FAA8-48AD-B14B-3E12C0F42178}"/>
              </a:ext>
            </a:extLst>
          </p:cNvPr>
          <p:cNvSpPr/>
          <p:nvPr/>
        </p:nvSpPr>
        <p:spPr>
          <a:xfrm>
            <a:off x="5172094" y="5099749"/>
            <a:ext cx="5853118" cy="334242"/>
          </a:xfrm>
          <a:prstGeom prst="rect">
            <a:avLst/>
          </a:prstGeom>
          <a:solidFill>
            <a:srgbClr val="E2E2E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l-GR" sz="1400" dirty="0">
                <a:solidFill>
                  <a:srgbClr val="575757"/>
                </a:solidFill>
              </a:rPr>
              <a:t>Επανακατάρτιση ανθρώπινου δυναμικού</a:t>
            </a:r>
            <a:endParaRPr lang="en-US" sz="1400" dirty="0">
              <a:solidFill>
                <a:srgbClr val="575757"/>
              </a:solidFill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C2957B8-F3EB-4214-BF12-1E855E9CF97E}"/>
              </a:ext>
            </a:extLst>
          </p:cNvPr>
          <p:cNvGrpSpPr>
            <a:grpSpLocks noChangeAspect="1"/>
          </p:cNvGrpSpPr>
          <p:nvPr/>
        </p:nvGrpSpPr>
        <p:grpSpPr>
          <a:xfrm>
            <a:off x="5702952" y="5046842"/>
            <a:ext cx="476396" cy="476396"/>
            <a:chOff x="5273675" y="2606675"/>
            <a:chExt cx="1644650" cy="1644650"/>
          </a:xfrm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FA0FA0AE-2FFC-4648-9983-1FD8B8767AE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758BE77D-2E39-45EF-BBA3-9383BD1E95F2}"/>
                </a:ext>
              </a:extLst>
            </p:cNvPr>
            <p:cNvGrpSpPr/>
            <p:nvPr/>
          </p:nvGrpSpPr>
          <p:grpSpPr>
            <a:xfrm>
              <a:off x="5338763" y="3074988"/>
              <a:ext cx="1508125" cy="715963"/>
              <a:chOff x="5338763" y="3074988"/>
              <a:chExt cx="1508125" cy="715963"/>
            </a:xfrm>
          </p:grpSpPr>
          <p:sp>
            <p:nvSpPr>
              <p:cNvPr id="80" name="Freeform 13">
                <a:extLst>
                  <a:ext uri="{FF2B5EF4-FFF2-40B4-BE49-F238E27FC236}">
                    <a16:creationId xmlns:a16="http://schemas.microsoft.com/office/drawing/2014/main" id="{83DBE7B9-5CFD-4445-8A03-414482A32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350" y="3359150"/>
                <a:ext cx="742950" cy="287338"/>
              </a:xfrm>
              <a:custGeom>
                <a:avLst/>
                <a:gdLst>
                  <a:gd name="T0" fmla="*/ 1018 w 1039"/>
                  <a:gd name="T1" fmla="*/ 82 h 402"/>
                  <a:gd name="T2" fmla="*/ 21 w 1039"/>
                  <a:gd name="T3" fmla="*/ 82 h 402"/>
                  <a:gd name="T4" fmla="*/ 0 w 1039"/>
                  <a:gd name="T5" fmla="*/ 109 h 402"/>
                  <a:gd name="T6" fmla="*/ 0 w 1039"/>
                  <a:gd name="T7" fmla="*/ 217 h 402"/>
                  <a:gd name="T8" fmla="*/ 0 w 1039"/>
                  <a:gd name="T9" fmla="*/ 241 h 402"/>
                  <a:gd name="T10" fmla="*/ 0 w 1039"/>
                  <a:gd name="T11" fmla="*/ 265 h 402"/>
                  <a:gd name="T12" fmla="*/ 0 w 1039"/>
                  <a:gd name="T13" fmla="*/ 383 h 402"/>
                  <a:gd name="T14" fmla="*/ 21 w 1039"/>
                  <a:gd name="T15" fmla="*/ 399 h 402"/>
                  <a:gd name="T16" fmla="*/ 1018 w 1039"/>
                  <a:gd name="T17" fmla="*/ 399 h 402"/>
                  <a:gd name="T18" fmla="*/ 1039 w 1039"/>
                  <a:gd name="T19" fmla="*/ 383 h 402"/>
                  <a:gd name="T20" fmla="*/ 1039 w 1039"/>
                  <a:gd name="T21" fmla="*/ 265 h 402"/>
                  <a:gd name="T22" fmla="*/ 1039 w 1039"/>
                  <a:gd name="T23" fmla="*/ 241 h 402"/>
                  <a:gd name="T24" fmla="*/ 1039 w 1039"/>
                  <a:gd name="T25" fmla="*/ 217 h 402"/>
                  <a:gd name="T26" fmla="*/ 1039 w 1039"/>
                  <a:gd name="T27" fmla="*/ 109 h 402"/>
                  <a:gd name="T28" fmla="*/ 1018 w 1039"/>
                  <a:gd name="T29" fmla="*/ 82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9" h="402">
                    <a:moveTo>
                      <a:pt x="1018" y="82"/>
                    </a:moveTo>
                    <a:cubicBezTo>
                      <a:pt x="686" y="0"/>
                      <a:pt x="353" y="0"/>
                      <a:pt x="21" y="82"/>
                    </a:cubicBezTo>
                    <a:cubicBezTo>
                      <a:pt x="9" y="85"/>
                      <a:pt x="0" y="97"/>
                      <a:pt x="0" y="109"/>
                    </a:cubicBezTo>
                    <a:cubicBezTo>
                      <a:pt x="0" y="145"/>
                      <a:pt x="0" y="181"/>
                      <a:pt x="0" y="217"/>
                    </a:cubicBezTo>
                    <a:cubicBezTo>
                      <a:pt x="0" y="225"/>
                      <a:pt x="0" y="233"/>
                      <a:pt x="0" y="241"/>
                    </a:cubicBezTo>
                    <a:cubicBezTo>
                      <a:pt x="0" y="249"/>
                      <a:pt x="0" y="257"/>
                      <a:pt x="0" y="265"/>
                    </a:cubicBezTo>
                    <a:cubicBezTo>
                      <a:pt x="0" y="304"/>
                      <a:pt x="0" y="343"/>
                      <a:pt x="0" y="383"/>
                    </a:cubicBezTo>
                    <a:cubicBezTo>
                      <a:pt x="0" y="395"/>
                      <a:pt x="9" y="402"/>
                      <a:pt x="21" y="399"/>
                    </a:cubicBezTo>
                    <a:cubicBezTo>
                      <a:pt x="353" y="317"/>
                      <a:pt x="686" y="317"/>
                      <a:pt x="1018" y="399"/>
                    </a:cubicBezTo>
                    <a:cubicBezTo>
                      <a:pt x="1030" y="402"/>
                      <a:pt x="1039" y="395"/>
                      <a:pt x="1039" y="383"/>
                    </a:cubicBezTo>
                    <a:cubicBezTo>
                      <a:pt x="1039" y="343"/>
                      <a:pt x="1039" y="304"/>
                      <a:pt x="1039" y="265"/>
                    </a:cubicBezTo>
                    <a:cubicBezTo>
                      <a:pt x="1039" y="257"/>
                      <a:pt x="1039" y="249"/>
                      <a:pt x="1039" y="241"/>
                    </a:cubicBezTo>
                    <a:cubicBezTo>
                      <a:pt x="1039" y="233"/>
                      <a:pt x="1039" y="225"/>
                      <a:pt x="1039" y="217"/>
                    </a:cubicBezTo>
                    <a:cubicBezTo>
                      <a:pt x="1039" y="181"/>
                      <a:pt x="1039" y="145"/>
                      <a:pt x="1039" y="109"/>
                    </a:cubicBezTo>
                    <a:cubicBezTo>
                      <a:pt x="1039" y="97"/>
                      <a:pt x="1030" y="85"/>
                      <a:pt x="1018" y="82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1" name="Freeform 14">
                <a:extLst>
                  <a:ext uri="{FF2B5EF4-FFF2-40B4-BE49-F238E27FC236}">
                    <a16:creationId xmlns:a16="http://schemas.microsoft.com/office/drawing/2014/main" id="{62EE19D7-B555-4099-99AB-E2A580C2D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763" y="3074988"/>
                <a:ext cx="1508125" cy="715963"/>
              </a:xfrm>
              <a:custGeom>
                <a:avLst/>
                <a:gdLst>
                  <a:gd name="T0" fmla="*/ 2099 w 2113"/>
                  <a:gd name="T1" fmla="*/ 402 h 1003"/>
                  <a:gd name="T2" fmla="*/ 1068 w 2113"/>
                  <a:gd name="T3" fmla="*/ 2 h 1003"/>
                  <a:gd name="T4" fmla="*/ 1052 w 2113"/>
                  <a:gd name="T5" fmla="*/ 2 h 1003"/>
                  <a:gd name="T6" fmla="*/ 14 w 2113"/>
                  <a:gd name="T7" fmla="*/ 402 h 1003"/>
                  <a:gd name="T8" fmla="*/ 0 w 2113"/>
                  <a:gd name="T9" fmla="*/ 422 h 1003"/>
                  <a:gd name="T10" fmla="*/ 13 w 2113"/>
                  <a:gd name="T11" fmla="*/ 442 h 1003"/>
                  <a:gd name="T12" fmla="*/ 271 w 2113"/>
                  <a:gd name="T13" fmla="*/ 551 h 1003"/>
                  <a:gd name="T14" fmla="*/ 271 w 2113"/>
                  <a:gd name="T15" fmla="*/ 761 h 1003"/>
                  <a:gd name="T16" fmla="*/ 243 w 2113"/>
                  <a:gd name="T17" fmla="*/ 806 h 1003"/>
                  <a:gd name="T18" fmla="*/ 262 w 2113"/>
                  <a:gd name="T19" fmla="*/ 845 h 1003"/>
                  <a:gd name="T20" fmla="*/ 218 w 2113"/>
                  <a:gd name="T21" fmla="*/ 1003 h 1003"/>
                  <a:gd name="T22" fmla="*/ 253 w 2113"/>
                  <a:gd name="T23" fmla="*/ 1003 h 1003"/>
                  <a:gd name="T24" fmla="*/ 332 w 2113"/>
                  <a:gd name="T25" fmla="*/ 1003 h 1003"/>
                  <a:gd name="T26" fmla="*/ 367 w 2113"/>
                  <a:gd name="T27" fmla="*/ 1003 h 1003"/>
                  <a:gd name="T28" fmla="*/ 323 w 2113"/>
                  <a:gd name="T29" fmla="*/ 845 h 1003"/>
                  <a:gd name="T30" fmla="*/ 342 w 2113"/>
                  <a:gd name="T31" fmla="*/ 806 h 1003"/>
                  <a:gd name="T32" fmla="*/ 315 w 2113"/>
                  <a:gd name="T33" fmla="*/ 761 h 1003"/>
                  <a:gd name="T34" fmla="*/ 315 w 2113"/>
                  <a:gd name="T35" fmla="*/ 569 h 1003"/>
                  <a:gd name="T36" fmla="*/ 493 w 2113"/>
                  <a:gd name="T37" fmla="*/ 644 h 1003"/>
                  <a:gd name="T38" fmla="*/ 493 w 2113"/>
                  <a:gd name="T39" fmla="*/ 620 h 1003"/>
                  <a:gd name="T40" fmla="*/ 493 w 2113"/>
                  <a:gd name="T41" fmla="*/ 596 h 1003"/>
                  <a:gd name="T42" fmla="*/ 493 w 2113"/>
                  <a:gd name="T43" fmla="*/ 485 h 1003"/>
                  <a:gd name="T44" fmla="*/ 525 w 2113"/>
                  <a:gd name="T45" fmla="*/ 443 h 1003"/>
                  <a:gd name="T46" fmla="*/ 878 w 2113"/>
                  <a:gd name="T47" fmla="*/ 380 h 1003"/>
                  <a:gd name="T48" fmla="*/ 1057 w 2113"/>
                  <a:gd name="T49" fmla="*/ 372 h 1003"/>
                  <a:gd name="T50" fmla="*/ 1235 w 2113"/>
                  <a:gd name="T51" fmla="*/ 380 h 1003"/>
                  <a:gd name="T52" fmla="*/ 1588 w 2113"/>
                  <a:gd name="T53" fmla="*/ 443 h 1003"/>
                  <a:gd name="T54" fmla="*/ 1588 w 2113"/>
                  <a:gd name="T55" fmla="*/ 443 h 1003"/>
                  <a:gd name="T56" fmla="*/ 1620 w 2113"/>
                  <a:gd name="T57" fmla="*/ 485 h 1003"/>
                  <a:gd name="T58" fmla="*/ 1620 w 2113"/>
                  <a:gd name="T59" fmla="*/ 596 h 1003"/>
                  <a:gd name="T60" fmla="*/ 1620 w 2113"/>
                  <a:gd name="T61" fmla="*/ 620 h 1003"/>
                  <a:gd name="T62" fmla="*/ 1620 w 2113"/>
                  <a:gd name="T63" fmla="*/ 644 h 1003"/>
                  <a:gd name="T64" fmla="*/ 2100 w 2113"/>
                  <a:gd name="T65" fmla="*/ 442 h 1003"/>
                  <a:gd name="T66" fmla="*/ 2113 w 2113"/>
                  <a:gd name="T67" fmla="*/ 422 h 1003"/>
                  <a:gd name="T68" fmla="*/ 2099 w 2113"/>
                  <a:gd name="T69" fmla="*/ 402 h 1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3" h="1003">
                    <a:moveTo>
                      <a:pt x="2099" y="402"/>
                    </a:moveTo>
                    <a:cubicBezTo>
                      <a:pt x="1068" y="2"/>
                      <a:pt x="1068" y="2"/>
                      <a:pt x="1068" y="2"/>
                    </a:cubicBezTo>
                    <a:cubicBezTo>
                      <a:pt x="1063" y="0"/>
                      <a:pt x="1057" y="0"/>
                      <a:pt x="1052" y="2"/>
                    </a:cubicBezTo>
                    <a:cubicBezTo>
                      <a:pt x="14" y="402"/>
                      <a:pt x="14" y="402"/>
                      <a:pt x="14" y="402"/>
                    </a:cubicBezTo>
                    <a:cubicBezTo>
                      <a:pt x="5" y="405"/>
                      <a:pt x="0" y="413"/>
                      <a:pt x="0" y="422"/>
                    </a:cubicBezTo>
                    <a:cubicBezTo>
                      <a:pt x="0" y="431"/>
                      <a:pt x="5" y="439"/>
                      <a:pt x="13" y="442"/>
                    </a:cubicBezTo>
                    <a:cubicBezTo>
                      <a:pt x="271" y="551"/>
                      <a:pt x="271" y="551"/>
                      <a:pt x="271" y="551"/>
                    </a:cubicBezTo>
                    <a:cubicBezTo>
                      <a:pt x="271" y="761"/>
                      <a:pt x="271" y="761"/>
                      <a:pt x="271" y="761"/>
                    </a:cubicBezTo>
                    <a:cubicBezTo>
                      <a:pt x="254" y="769"/>
                      <a:pt x="243" y="786"/>
                      <a:pt x="243" y="806"/>
                    </a:cubicBezTo>
                    <a:cubicBezTo>
                      <a:pt x="243" y="822"/>
                      <a:pt x="250" y="836"/>
                      <a:pt x="262" y="845"/>
                    </a:cubicBezTo>
                    <a:cubicBezTo>
                      <a:pt x="218" y="1003"/>
                      <a:pt x="218" y="1003"/>
                      <a:pt x="218" y="1003"/>
                    </a:cubicBezTo>
                    <a:cubicBezTo>
                      <a:pt x="253" y="1003"/>
                      <a:pt x="253" y="1003"/>
                      <a:pt x="253" y="1003"/>
                    </a:cubicBezTo>
                    <a:cubicBezTo>
                      <a:pt x="332" y="1003"/>
                      <a:pt x="332" y="1003"/>
                      <a:pt x="332" y="1003"/>
                    </a:cubicBezTo>
                    <a:cubicBezTo>
                      <a:pt x="367" y="1003"/>
                      <a:pt x="367" y="1003"/>
                      <a:pt x="367" y="1003"/>
                    </a:cubicBezTo>
                    <a:cubicBezTo>
                      <a:pt x="323" y="845"/>
                      <a:pt x="323" y="845"/>
                      <a:pt x="323" y="845"/>
                    </a:cubicBezTo>
                    <a:cubicBezTo>
                      <a:pt x="335" y="836"/>
                      <a:pt x="342" y="822"/>
                      <a:pt x="342" y="806"/>
                    </a:cubicBezTo>
                    <a:cubicBezTo>
                      <a:pt x="342" y="786"/>
                      <a:pt x="331" y="769"/>
                      <a:pt x="315" y="761"/>
                    </a:cubicBezTo>
                    <a:cubicBezTo>
                      <a:pt x="315" y="569"/>
                      <a:pt x="315" y="569"/>
                      <a:pt x="315" y="569"/>
                    </a:cubicBezTo>
                    <a:cubicBezTo>
                      <a:pt x="493" y="644"/>
                      <a:pt x="493" y="644"/>
                      <a:pt x="493" y="644"/>
                    </a:cubicBezTo>
                    <a:cubicBezTo>
                      <a:pt x="493" y="620"/>
                      <a:pt x="493" y="620"/>
                      <a:pt x="493" y="620"/>
                    </a:cubicBezTo>
                    <a:cubicBezTo>
                      <a:pt x="493" y="596"/>
                      <a:pt x="493" y="596"/>
                      <a:pt x="493" y="596"/>
                    </a:cubicBezTo>
                    <a:cubicBezTo>
                      <a:pt x="493" y="485"/>
                      <a:pt x="493" y="485"/>
                      <a:pt x="493" y="485"/>
                    </a:cubicBezTo>
                    <a:cubicBezTo>
                      <a:pt x="493" y="466"/>
                      <a:pt x="506" y="448"/>
                      <a:pt x="525" y="443"/>
                    </a:cubicBezTo>
                    <a:cubicBezTo>
                      <a:pt x="640" y="412"/>
                      <a:pt x="759" y="390"/>
                      <a:pt x="878" y="380"/>
                    </a:cubicBezTo>
                    <a:cubicBezTo>
                      <a:pt x="937" y="374"/>
                      <a:pt x="997" y="372"/>
                      <a:pt x="1057" y="372"/>
                    </a:cubicBezTo>
                    <a:cubicBezTo>
                      <a:pt x="1116" y="372"/>
                      <a:pt x="1176" y="374"/>
                      <a:pt x="1235" y="380"/>
                    </a:cubicBezTo>
                    <a:cubicBezTo>
                      <a:pt x="1354" y="390"/>
                      <a:pt x="1473" y="412"/>
                      <a:pt x="1588" y="443"/>
                    </a:cubicBezTo>
                    <a:cubicBezTo>
                      <a:pt x="1588" y="443"/>
                      <a:pt x="1588" y="443"/>
                      <a:pt x="1588" y="443"/>
                    </a:cubicBezTo>
                    <a:cubicBezTo>
                      <a:pt x="1607" y="448"/>
                      <a:pt x="1620" y="466"/>
                      <a:pt x="1620" y="485"/>
                    </a:cubicBezTo>
                    <a:cubicBezTo>
                      <a:pt x="1620" y="596"/>
                      <a:pt x="1620" y="596"/>
                      <a:pt x="1620" y="596"/>
                    </a:cubicBezTo>
                    <a:cubicBezTo>
                      <a:pt x="1620" y="620"/>
                      <a:pt x="1620" y="620"/>
                      <a:pt x="1620" y="620"/>
                    </a:cubicBezTo>
                    <a:cubicBezTo>
                      <a:pt x="1620" y="644"/>
                      <a:pt x="1620" y="644"/>
                      <a:pt x="1620" y="644"/>
                    </a:cubicBezTo>
                    <a:cubicBezTo>
                      <a:pt x="2100" y="442"/>
                      <a:pt x="2100" y="442"/>
                      <a:pt x="2100" y="442"/>
                    </a:cubicBezTo>
                    <a:cubicBezTo>
                      <a:pt x="2108" y="439"/>
                      <a:pt x="2113" y="431"/>
                      <a:pt x="2113" y="422"/>
                    </a:cubicBezTo>
                    <a:cubicBezTo>
                      <a:pt x="2113" y="413"/>
                      <a:pt x="2108" y="405"/>
                      <a:pt x="2099" y="402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2" name="ee4pFootnotes">
            <a:extLst>
              <a:ext uri="{FF2B5EF4-FFF2-40B4-BE49-F238E27FC236}">
                <a16:creationId xmlns:a16="http://schemas.microsoft.com/office/drawing/2014/main" id="{1E25B5C4-A474-4B6E-B073-2FA771809F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4060" y="6421441"/>
            <a:ext cx="3829988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l-GR" sz="1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Πηγή: Ανάλυση Ομάδας </a:t>
            </a:r>
            <a:r>
              <a:rPr lang="el-GR" sz="1000" dirty="0" err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ΣΔΑΜ</a:t>
            </a:r>
            <a:endParaRPr lang="en-US" sz="1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35D3B7F-5618-4C35-B830-03C027419118}"/>
              </a:ext>
            </a:extLst>
          </p:cNvPr>
          <p:cNvSpPr/>
          <p:nvPr/>
        </p:nvSpPr>
        <p:spPr>
          <a:xfrm>
            <a:off x="5172094" y="5489488"/>
            <a:ext cx="5853118" cy="334242"/>
          </a:xfrm>
          <a:prstGeom prst="rect">
            <a:avLst/>
          </a:prstGeom>
          <a:solidFill>
            <a:srgbClr val="E2E2E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defRPr/>
            </a:pPr>
            <a:r>
              <a:rPr lang="el-GR" sz="1400" dirty="0">
                <a:solidFill>
                  <a:srgbClr val="575757"/>
                </a:solidFill>
              </a:rPr>
              <a:t>Καθοδήγηση επιχειρηματικότητας </a:t>
            </a:r>
            <a:r>
              <a:rPr lang="el-GR" sz="1400">
                <a:solidFill>
                  <a:srgbClr val="575757"/>
                </a:solidFill>
              </a:rPr>
              <a:t>και κίνητρα</a:t>
            </a:r>
            <a:endParaRPr lang="en-US" sz="1400" dirty="0">
              <a:solidFill>
                <a:srgbClr val="575757"/>
              </a:solidFill>
            </a:endParaRP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FCF6C861-5F84-4464-8AFE-9CB64D7EA13C}"/>
              </a:ext>
            </a:extLst>
          </p:cNvPr>
          <p:cNvGrpSpPr>
            <a:grpSpLocks noChangeAspect="1"/>
          </p:cNvGrpSpPr>
          <p:nvPr/>
        </p:nvGrpSpPr>
        <p:grpSpPr>
          <a:xfrm>
            <a:off x="5762145" y="5479009"/>
            <a:ext cx="357923" cy="357923"/>
            <a:chOff x="5273675" y="2606675"/>
            <a:chExt cx="1644650" cy="1644650"/>
          </a:xfrm>
        </p:grpSpPr>
        <p:sp>
          <p:nvSpPr>
            <p:cNvPr id="119" name="AutoShape 3">
              <a:extLst>
                <a:ext uri="{FF2B5EF4-FFF2-40B4-BE49-F238E27FC236}">
                  <a16:creationId xmlns:a16="http://schemas.microsoft.com/office/drawing/2014/main" id="{11A85A6B-6C3A-4079-9FEF-57F308240B9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A71266F3-D715-4165-93DE-505706B03777}"/>
                </a:ext>
              </a:extLst>
            </p:cNvPr>
            <p:cNvGrpSpPr/>
            <p:nvPr/>
          </p:nvGrpSpPr>
          <p:grpSpPr>
            <a:xfrm>
              <a:off x="5362575" y="2669381"/>
              <a:ext cx="1466850" cy="1519238"/>
              <a:chOff x="5373688" y="2667000"/>
              <a:chExt cx="1466850" cy="1519238"/>
            </a:xfrm>
          </p:grpSpPr>
          <p:sp>
            <p:nvSpPr>
              <p:cNvPr id="121" name="Freeform 5">
                <a:extLst>
                  <a:ext uri="{FF2B5EF4-FFF2-40B4-BE49-F238E27FC236}">
                    <a16:creationId xmlns:a16="http://schemas.microsoft.com/office/drawing/2014/main" id="{63B78E1D-0BD8-4D07-949D-7910C12438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1963" y="2870200"/>
                <a:ext cx="1117600" cy="1112838"/>
              </a:xfrm>
              <a:custGeom>
                <a:avLst/>
                <a:gdLst>
                  <a:gd name="T0" fmla="*/ 240 w 1566"/>
                  <a:gd name="T1" fmla="*/ 214 h 1558"/>
                  <a:gd name="T2" fmla="*/ 111 w 1566"/>
                  <a:gd name="T3" fmla="*/ 461 h 1558"/>
                  <a:gd name="T4" fmla="*/ 73 w 1566"/>
                  <a:gd name="T5" fmla="*/ 449 h 1558"/>
                  <a:gd name="T6" fmla="*/ 1448 w 1566"/>
                  <a:gd name="T7" fmla="*/ 444 h 1558"/>
                  <a:gd name="T8" fmla="*/ 1485 w 1566"/>
                  <a:gd name="T9" fmla="*/ 432 h 1558"/>
                  <a:gd name="T10" fmla="*/ 1295 w 1566"/>
                  <a:gd name="T11" fmla="*/ 237 h 1558"/>
                  <a:gd name="T12" fmla="*/ 39 w 1566"/>
                  <a:gd name="T13" fmla="*/ 778 h 1558"/>
                  <a:gd name="T14" fmla="*/ 11 w 1566"/>
                  <a:gd name="T15" fmla="*/ 645 h 1558"/>
                  <a:gd name="T16" fmla="*/ 16 w 1566"/>
                  <a:gd name="T17" fmla="*/ 935 h 1558"/>
                  <a:gd name="T18" fmla="*/ 39 w 1566"/>
                  <a:gd name="T19" fmla="*/ 778 h 1558"/>
                  <a:gd name="T20" fmla="*/ 84 w 1566"/>
                  <a:gd name="T21" fmla="*/ 1129 h 1558"/>
                  <a:gd name="T22" fmla="*/ 281 w 1566"/>
                  <a:gd name="T23" fmla="*/ 1327 h 1558"/>
                  <a:gd name="T24" fmla="*/ 1460 w 1566"/>
                  <a:gd name="T25" fmla="*/ 1092 h 1558"/>
                  <a:gd name="T26" fmla="*/ 1311 w 1566"/>
                  <a:gd name="T27" fmla="*/ 1302 h 1558"/>
                  <a:gd name="T28" fmla="*/ 1335 w 1566"/>
                  <a:gd name="T29" fmla="*/ 1334 h 1558"/>
                  <a:gd name="T30" fmla="*/ 1460 w 1566"/>
                  <a:gd name="T31" fmla="*/ 1092 h 1558"/>
                  <a:gd name="T32" fmla="*/ 881 w 1566"/>
                  <a:gd name="T33" fmla="*/ 39 h 1558"/>
                  <a:gd name="T34" fmla="*/ 1129 w 1566"/>
                  <a:gd name="T35" fmla="*/ 116 h 1558"/>
                  <a:gd name="T36" fmla="*/ 881 w 1566"/>
                  <a:gd name="T37" fmla="*/ 0 h 1558"/>
                  <a:gd name="T38" fmla="*/ 881 w 1566"/>
                  <a:gd name="T39" fmla="*/ 39 h 1558"/>
                  <a:gd name="T40" fmla="*/ 1148 w 1566"/>
                  <a:gd name="T41" fmla="*/ 1427 h 1558"/>
                  <a:gd name="T42" fmla="*/ 905 w 1566"/>
                  <a:gd name="T43" fmla="*/ 1513 h 1558"/>
                  <a:gd name="T44" fmla="*/ 1172 w 1566"/>
                  <a:gd name="T45" fmla="*/ 1459 h 1558"/>
                  <a:gd name="T46" fmla="*/ 1516 w 1566"/>
                  <a:gd name="T47" fmla="*/ 638 h 1558"/>
                  <a:gd name="T48" fmla="*/ 1527 w 1566"/>
                  <a:gd name="T49" fmla="*/ 778 h 1558"/>
                  <a:gd name="T50" fmla="*/ 1524 w 1566"/>
                  <a:gd name="T51" fmla="*/ 897 h 1558"/>
                  <a:gd name="T52" fmla="*/ 1566 w 1566"/>
                  <a:gd name="T53" fmla="*/ 778 h 1558"/>
                  <a:gd name="T54" fmla="*/ 699 w 1566"/>
                  <a:gd name="T55" fmla="*/ 1519 h 1558"/>
                  <a:gd name="T56" fmla="*/ 427 w 1566"/>
                  <a:gd name="T57" fmla="*/ 1476 h 1558"/>
                  <a:gd name="T58" fmla="*/ 699 w 1566"/>
                  <a:gd name="T59" fmla="*/ 1519 h 1558"/>
                  <a:gd name="T60" fmla="*/ 429 w 1566"/>
                  <a:gd name="T61" fmla="*/ 123 h 1558"/>
                  <a:gd name="T62" fmla="*/ 676 w 1566"/>
                  <a:gd name="T63" fmla="*/ 1 h 1558"/>
                  <a:gd name="T64" fmla="*/ 429 w 1566"/>
                  <a:gd name="T65" fmla="*/ 123 h 15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66" h="1558">
                    <a:moveTo>
                      <a:pt x="73" y="449"/>
                    </a:moveTo>
                    <a:cubicBezTo>
                      <a:pt x="114" y="361"/>
                      <a:pt x="171" y="280"/>
                      <a:pt x="240" y="214"/>
                    </a:cubicBezTo>
                    <a:cubicBezTo>
                      <a:pt x="264" y="246"/>
                      <a:pt x="264" y="246"/>
                      <a:pt x="264" y="246"/>
                    </a:cubicBezTo>
                    <a:cubicBezTo>
                      <a:pt x="201" y="307"/>
                      <a:pt x="149" y="381"/>
                      <a:pt x="111" y="461"/>
                    </a:cubicBezTo>
                    <a:cubicBezTo>
                      <a:pt x="73" y="449"/>
                      <a:pt x="73" y="449"/>
                      <a:pt x="73" y="449"/>
                    </a:cubicBezTo>
                    <a:cubicBezTo>
                      <a:pt x="73" y="449"/>
                      <a:pt x="73" y="449"/>
                      <a:pt x="73" y="449"/>
                    </a:cubicBezTo>
                    <a:close/>
                    <a:moveTo>
                      <a:pt x="1295" y="237"/>
                    </a:moveTo>
                    <a:cubicBezTo>
                      <a:pt x="1357" y="296"/>
                      <a:pt x="1409" y="367"/>
                      <a:pt x="1448" y="444"/>
                    </a:cubicBezTo>
                    <a:cubicBezTo>
                      <a:pt x="1449" y="444"/>
                      <a:pt x="1451" y="443"/>
                      <a:pt x="1453" y="442"/>
                    </a:cubicBezTo>
                    <a:cubicBezTo>
                      <a:pt x="1485" y="432"/>
                      <a:pt x="1485" y="432"/>
                      <a:pt x="1485" y="432"/>
                    </a:cubicBezTo>
                    <a:cubicBezTo>
                      <a:pt x="1443" y="346"/>
                      <a:pt x="1386" y="270"/>
                      <a:pt x="1318" y="205"/>
                    </a:cubicBezTo>
                    <a:cubicBezTo>
                      <a:pt x="1295" y="237"/>
                      <a:pt x="1295" y="237"/>
                      <a:pt x="1295" y="237"/>
                    </a:cubicBezTo>
                    <a:cubicBezTo>
                      <a:pt x="1295" y="237"/>
                      <a:pt x="1295" y="237"/>
                      <a:pt x="1295" y="237"/>
                    </a:cubicBezTo>
                    <a:close/>
                    <a:moveTo>
                      <a:pt x="39" y="778"/>
                    </a:moveTo>
                    <a:cubicBezTo>
                      <a:pt x="39" y="737"/>
                      <a:pt x="42" y="697"/>
                      <a:pt x="49" y="657"/>
                    </a:cubicBezTo>
                    <a:cubicBezTo>
                      <a:pt x="11" y="645"/>
                      <a:pt x="11" y="645"/>
                      <a:pt x="11" y="645"/>
                    </a:cubicBezTo>
                    <a:cubicBezTo>
                      <a:pt x="4" y="688"/>
                      <a:pt x="0" y="733"/>
                      <a:pt x="0" y="778"/>
                    </a:cubicBezTo>
                    <a:cubicBezTo>
                      <a:pt x="0" y="831"/>
                      <a:pt x="5" y="885"/>
                      <a:pt x="16" y="935"/>
                    </a:cubicBezTo>
                    <a:cubicBezTo>
                      <a:pt x="53" y="923"/>
                      <a:pt x="53" y="923"/>
                      <a:pt x="53" y="923"/>
                    </a:cubicBezTo>
                    <a:cubicBezTo>
                      <a:pt x="44" y="876"/>
                      <a:pt x="39" y="827"/>
                      <a:pt x="39" y="778"/>
                    </a:cubicBezTo>
                    <a:close/>
                    <a:moveTo>
                      <a:pt x="121" y="1117"/>
                    </a:moveTo>
                    <a:cubicBezTo>
                      <a:pt x="84" y="1129"/>
                      <a:pt x="84" y="1129"/>
                      <a:pt x="84" y="1129"/>
                    </a:cubicBezTo>
                    <a:cubicBezTo>
                      <a:pt x="127" y="1216"/>
                      <a:pt x="187" y="1294"/>
                      <a:pt x="258" y="1358"/>
                    </a:cubicBezTo>
                    <a:cubicBezTo>
                      <a:pt x="281" y="1327"/>
                      <a:pt x="281" y="1327"/>
                      <a:pt x="281" y="1327"/>
                    </a:cubicBezTo>
                    <a:cubicBezTo>
                      <a:pt x="216" y="1267"/>
                      <a:pt x="162" y="1196"/>
                      <a:pt x="121" y="1117"/>
                    </a:cubicBezTo>
                    <a:close/>
                    <a:moveTo>
                      <a:pt x="1460" y="1092"/>
                    </a:moveTo>
                    <a:cubicBezTo>
                      <a:pt x="1459" y="1092"/>
                      <a:pt x="1459" y="1092"/>
                      <a:pt x="1458" y="1091"/>
                    </a:cubicBezTo>
                    <a:cubicBezTo>
                      <a:pt x="1421" y="1170"/>
                      <a:pt x="1372" y="1241"/>
                      <a:pt x="1311" y="1302"/>
                    </a:cubicBezTo>
                    <a:cubicBezTo>
                      <a:pt x="1312" y="1303"/>
                      <a:pt x="1313" y="1304"/>
                      <a:pt x="1314" y="1305"/>
                    </a:cubicBezTo>
                    <a:cubicBezTo>
                      <a:pt x="1335" y="1334"/>
                      <a:pt x="1335" y="1334"/>
                      <a:pt x="1335" y="1334"/>
                    </a:cubicBezTo>
                    <a:cubicBezTo>
                      <a:pt x="1401" y="1268"/>
                      <a:pt x="1456" y="1190"/>
                      <a:pt x="1495" y="1104"/>
                    </a:cubicBezTo>
                    <a:cubicBezTo>
                      <a:pt x="1460" y="1092"/>
                      <a:pt x="1460" y="1092"/>
                      <a:pt x="1460" y="1092"/>
                    </a:cubicBezTo>
                    <a:cubicBezTo>
                      <a:pt x="1460" y="1092"/>
                      <a:pt x="1460" y="1092"/>
                      <a:pt x="1460" y="1092"/>
                    </a:cubicBezTo>
                    <a:close/>
                    <a:moveTo>
                      <a:pt x="881" y="39"/>
                    </a:moveTo>
                    <a:cubicBezTo>
                      <a:pt x="969" y="51"/>
                      <a:pt x="1052" y="78"/>
                      <a:pt x="1128" y="118"/>
                    </a:cubicBezTo>
                    <a:cubicBezTo>
                      <a:pt x="1128" y="117"/>
                      <a:pt x="1129" y="117"/>
                      <a:pt x="1129" y="116"/>
                    </a:cubicBezTo>
                    <a:cubicBezTo>
                      <a:pt x="1151" y="86"/>
                      <a:pt x="1151" y="86"/>
                      <a:pt x="1151" y="86"/>
                    </a:cubicBezTo>
                    <a:cubicBezTo>
                      <a:pt x="1069" y="42"/>
                      <a:pt x="978" y="12"/>
                      <a:pt x="881" y="0"/>
                    </a:cubicBezTo>
                    <a:cubicBezTo>
                      <a:pt x="881" y="39"/>
                      <a:pt x="881" y="39"/>
                      <a:pt x="881" y="39"/>
                    </a:cubicBezTo>
                    <a:cubicBezTo>
                      <a:pt x="881" y="39"/>
                      <a:pt x="881" y="39"/>
                      <a:pt x="881" y="39"/>
                    </a:cubicBezTo>
                    <a:close/>
                    <a:moveTo>
                      <a:pt x="1172" y="1459"/>
                    </a:moveTo>
                    <a:cubicBezTo>
                      <a:pt x="1148" y="1427"/>
                      <a:pt x="1148" y="1427"/>
                      <a:pt x="1148" y="1427"/>
                    </a:cubicBezTo>
                    <a:cubicBezTo>
                      <a:pt x="1074" y="1469"/>
                      <a:pt x="992" y="1498"/>
                      <a:pt x="905" y="1513"/>
                    </a:cubicBezTo>
                    <a:cubicBezTo>
                      <a:pt x="905" y="1513"/>
                      <a:pt x="905" y="1513"/>
                      <a:pt x="905" y="1513"/>
                    </a:cubicBezTo>
                    <a:cubicBezTo>
                      <a:pt x="905" y="1553"/>
                      <a:pt x="905" y="1553"/>
                      <a:pt x="905" y="1553"/>
                    </a:cubicBezTo>
                    <a:cubicBezTo>
                      <a:pt x="1000" y="1538"/>
                      <a:pt x="1091" y="1505"/>
                      <a:pt x="1172" y="1459"/>
                    </a:cubicBezTo>
                    <a:close/>
                    <a:moveTo>
                      <a:pt x="1551" y="626"/>
                    </a:moveTo>
                    <a:cubicBezTo>
                      <a:pt x="1516" y="638"/>
                      <a:pt x="1516" y="638"/>
                      <a:pt x="1516" y="638"/>
                    </a:cubicBezTo>
                    <a:cubicBezTo>
                      <a:pt x="1515" y="638"/>
                      <a:pt x="1515" y="638"/>
                      <a:pt x="1514" y="638"/>
                    </a:cubicBezTo>
                    <a:cubicBezTo>
                      <a:pt x="1522" y="684"/>
                      <a:pt x="1527" y="730"/>
                      <a:pt x="1527" y="778"/>
                    </a:cubicBezTo>
                    <a:cubicBezTo>
                      <a:pt x="1527" y="817"/>
                      <a:pt x="1524" y="857"/>
                      <a:pt x="1518" y="895"/>
                    </a:cubicBezTo>
                    <a:cubicBezTo>
                      <a:pt x="1520" y="896"/>
                      <a:pt x="1522" y="896"/>
                      <a:pt x="1524" y="897"/>
                    </a:cubicBezTo>
                    <a:cubicBezTo>
                      <a:pt x="1556" y="907"/>
                      <a:pt x="1556" y="907"/>
                      <a:pt x="1556" y="907"/>
                    </a:cubicBezTo>
                    <a:cubicBezTo>
                      <a:pt x="1562" y="865"/>
                      <a:pt x="1566" y="822"/>
                      <a:pt x="1566" y="778"/>
                    </a:cubicBezTo>
                    <a:cubicBezTo>
                      <a:pt x="1566" y="726"/>
                      <a:pt x="1561" y="675"/>
                      <a:pt x="1551" y="626"/>
                    </a:cubicBezTo>
                    <a:close/>
                    <a:moveTo>
                      <a:pt x="699" y="1519"/>
                    </a:moveTo>
                    <a:cubicBezTo>
                      <a:pt x="610" y="1508"/>
                      <a:pt x="527" y="1482"/>
                      <a:pt x="450" y="1443"/>
                    </a:cubicBezTo>
                    <a:cubicBezTo>
                      <a:pt x="427" y="1476"/>
                      <a:pt x="427" y="1476"/>
                      <a:pt x="427" y="1476"/>
                    </a:cubicBezTo>
                    <a:cubicBezTo>
                      <a:pt x="510" y="1520"/>
                      <a:pt x="603" y="1548"/>
                      <a:pt x="699" y="1558"/>
                    </a:cubicBezTo>
                    <a:cubicBezTo>
                      <a:pt x="699" y="1519"/>
                      <a:pt x="699" y="1519"/>
                      <a:pt x="699" y="1519"/>
                    </a:cubicBezTo>
                    <a:cubicBezTo>
                      <a:pt x="699" y="1519"/>
                      <a:pt x="699" y="1519"/>
                      <a:pt x="699" y="1519"/>
                    </a:cubicBezTo>
                    <a:close/>
                    <a:moveTo>
                      <a:pt x="429" y="123"/>
                    </a:moveTo>
                    <a:cubicBezTo>
                      <a:pt x="504" y="82"/>
                      <a:pt x="588" y="54"/>
                      <a:pt x="676" y="41"/>
                    </a:cubicBezTo>
                    <a:cubicBezTo>
                      <a:pt x="676" y="1"/>
                      <a:pt x="676" y="1"/>
                      <a:pt x="676" y="1"/>
                    </a:cubicBezTo>
                    <a:cubicBezTo>
                      <a:pt x="580" y="14"/>
                      <a:pt x="488" y="46"/>
                      <a:pt x="405" y="91"/>
                    </a:cubicBezTo>
                    <a:cubicBezTo>
                      <a:pt x="429" y="123"/>
                      <a:pt x="429" y="123"/>
                      <a:pt x="429" y="123"/>
                    </a:cubicBezTo>
                    <a:cubicBezTo>
                      <a:pt x="429" y="123"/>
                      <a:pt x="429" y="123"/>
                      <a:pt x="429" y="123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6">
                <a:extLst>
                  <a:ext uri="{FF2B5EF4-FFF2-40B4-BE49-F238E27FC236}">
                    <a16:creationId xmlns:a16="http://schemas.microsoft.com/office/drawing/2014/main" id="{F76D3A68-518E-44E3-A7C2-DF8EBD9DE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3688" y="2667000"/>
                <a:ext cx="1466850" cy="1519238"/>
              </a:xfrm>
              <a:custGeom>
                <a:avLst/>
                <a:gdLst>
                  <a:gd name="T0" fmla="*/ 1705 w 2054"/>
                  <a:gd name="T1" fmla="*/ 1232 h 2129"/>
                  <a:gd name="T2" fmla="*/ 1698 w 2054"/>
                  <a:gd name="T3" fmla="*/ 876 h 2129"/>
                  <a:gd name="T4" fmla="*/ 2038 w 2054"/>
                  <a:gd name="T5" fmla="*/ 733 h 2129"/>
                  <a:gd name="T6" fmla="*/ 1702 w 2054"/>
                  <a:gd name="T7" fmla="*/ 771 h 2129"/>
                  <a:gd name="T8" fmla="*/ 1463 w 2054"/>
                  <a:gd name="T9" fmla="*/ 517 h 2129"/>
                  <a:gd name="T10" fmla="*/ 1650 w 2054"/>
                  <a:gd name="T11" fmla="*/ 202 h 2129"/>
                  <a:gd name="T12" fmla="*/ 1402 w 2054"/>
                  <a:gd name="T13" fmla="*/ 430 h 2129"/>
                  <a:gd name="T14" fmla="*/ 1073 w 2054"/>
                  <a:gd name="T15" fmla="*/ 331 h 2129"/>
                  <a:gd name="T16" fmla="*/ 1005 w 2054"/>
                  <a:gd name="T17" fmla="*/ 0 h 2129"/>
                  <a:gd name="T18" fmla="*/ 968 w 2054"/>
                  <a:gd name="T19" fmla="*/ 362 h 2129"/>
                  <a:gd name="T20" fmla="*/ 466 w 2054"/>
                  <a:gd name="T21" fmla="*/ 214 h 2129"/>
                  <a:gd name="T22" fmla="*/ 371 w 2054"/>
                  <a:gd name="T23" fmla="*/ 283 h 2129"/>
                  <a:gd name="T24" fmla="*/ 363 w 2054"/>
                  <a:gd name="T25" fmla="*/ 807 h 2129"/>
                  <a:gd name="T26" fmla="*/ 14 w 2054"/>
                  <a:gd name="T27" fmla="*/ 739 h 2129"/>
                  <a:gd name="T28" fmla="*/ 307 w 2054"/>
                  <a:gd name="T29" fmla="*/ 905 h 2129"/>
                  <a:gd name="T30" fmla="*/ 338 w 2054"/>
                  <a:gd name="T31" fmla="*/ 1246 h 2129"/>
                  <a:gd name="T32" fmla="*/ 15 w 2054"/>
                  <a:gd name="T33" fmla="*/ 1397 h 2129"/>
                  <a:gd name="T34" fmla="*/ 350 w 2054"/>
                  <a:gd name="T35" fmla="*/ 1359 h 2129"/>
                  <a:gd name="T36" fmla="*/ 557 w 2054"/>
                  <a:gd name="T37" fmla="*/ 1631 h 2129"/>
                  <a:gd name="T38" fmla="*/ 417 w 2054"/>
                  <a:gd name="T39" fmla="*/ 1938 h 2129"/>
                  <a:gd name="T40" fmla="*/ 660 w 2054"/>
                  <a:gd name="T41" fmla="*/ 1671 h 2129"/>
                  <a:gd name="T42" fmla="*/ 979 w 2054"/>
                  <a:gd name="T43" fmla="*/ 2082 h 2129"/>
                  <a:gd name="T44" fmla="*/ 1097 w 2054"/>
                  <a:gd name="T45" fmla="*/ 2082 h 2129"/>
                  <a:gd name="T46" fmla="*/ 1414 w 2054"/>
                  <a:gd name="T47" fmla="*/ 1649 h 2129"/>
                  <a:gd name="T48" fmla="*/ 1654 w 2054"/>
                  <a:gd name="T49" fmla="*/ 1924 h 2129"/>
                  <a:gd name="T50" fmla="*/ 1515 w 2054"/>
                  <a:gd name="T51" fmla="*/ 1617 h 2129"/>
                  <a:gd name="T52" fmla="*/ 1710 w 2054"/>
                  <a:gd name="T53" fmla="*/ 1336 h 2129"/>
                  <a:gd name="T54" fmla="*/ 2045 w 2054"/>
                  <a:gd name="T55" fmla="*/ 1374 h 2129"/>
                  <a:gd name="T56" fmla="*/ 1318 w 2054"/>
                  <a:gd name="T57" fmla="*/ 917 h 2129"/>
                  <a:gd name="T58" fmla="*/ 1492 w 2054"/>
                  <a:gd name="T59" fmla="*/ 870 h 2129"/>
                  <a:gd name="T60" fmla="*/ 1053 w 2054"/>
                  <a:gd name="T61" fmla="*/ 733 h 2129"/>
                  <a:gd name="T62" fmla="*/ 985 w 2054"/>
                  <a:gd name="T63" fmla="*/ 556 h 2129"/>
                  <a:gd name="T64" fmla="*/ 742 w 2054"/>
                  <a:gd name="T65" fmla="*/ 640 h 2129"/>
                  <a:gd name="T66" fmla="*/ 691 w 2054"/>
                  <a:gd name="T67" fmla="*/ 674 h 2129"/>
                  <a:gd name="T68" fmla="*/ 712 w 2054"/>
                  <a:gd name="T69" fmla="*/ 934 h 2129"/>
                  <a:gd name="T70" fmla="*/ 691 w 2054"/>
                  <a:gd name="T71" fmla="*/ 674 h 2129"/>
                  <a:gd name="T72" fmla="*/ 523 w 2054"/>
                  <a:gd name="T73" fmla="*/ 945 h 2129"/>
                  <a:gd name="T74" fmla="*/ 685 w 2054"/>
                  <a:gd name="T75" fmla="*/ 1065 h 2129"/>
                  <a:gd name="T76" fmla="*/ 528 w 2054"/>
                  <a:gd name="T77" fmla="*/ 1206 h 2129"/>
                  <a:gd name="T78" fmla="*/ 552 w 2054"/>
                  <a:gd name="T79" fmla="*/ 1263 h 2129"/>
                  <a:gd name="T80" fmla="*/ 710 w 2054"/>
                  <a:gd name="T81" fmla="*/ 1467 h 2129"/>
                  <a:gd name="T82" fmla="*/ 871 w 2054"/>
                  <a:gd name="T83" fmla="*/ 1364 h 2129"/>
                  <a:gd name="T84" fmla="*/ 759 w 2054"/>
                  <a:gd name="T85" fmla="*/ 1504 h 2129"/>
                  <a:gd name="T86" fmla="*/ 1013 w 2054"/>
                  <a:gd name="T87" fmla="*/ 920 h 2129"/>
                  <a:gd name="T88" fmla="*/ 1068 w 2054"/>
                  <a:gd name="T89" fmla="*/ 1573 h 2129"/>
                  <a:gd name="T90" fmla="*/ 1308 w 2054"/>
                  <a:gd name="T91" fmla="*/ 1486 h 2129"/>
                  <a:gd name="T92" fmla="*/ 1258 w 2054"/>
                  <a:gd name="T93" fmla="*/ 1298 h 2129"/>
                  <a:gd name="T94" fmla="*/ 1357 w 2054"/>
                  <a:gd name="T95" fmla="*/ 1448 h 2129"/>
                  <a:gd name="T96" fmla="*/ 1354 w 2054"/>
                  <a:gd name="T97" fmla="*/ 1065 h 2129"/>
                  <a:gd name="T98" fmla="*/ 1529 w 2054"/>
                  <a:gd name="T99" fmla="*/ 1065 h 2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54" h="2129">
                    <a:moveTo>
                      <a:pt x="2016" y="1313"/>
                    </a:moveTo>
                    <a:cubicBezTo>
                      <a:pt x="2016" y="1313"/>
                      <a:pt x="2016" y="1313"/>
                      <a:pt x="1746" y="1225"/>
                    </a:cubicBezTo>
                    <a:cubicBezTo>
                      <a:pt x="1731" y="1220"/>
                      <a:pt x="1716" y="1223"/>
                      <a:pt x="1705" y="1232"/>
                    </a:cubicBezTo>
                    <a:cubicBezTo>
                      <a:pt x="1705" y="1232"/>
                      <a:pt x="1705" y="1232"/>
                      <a:pt x="1704" y="1232"/>
                    </a:cubicBezTo>
                    <a:cubicBezTo>
                      <a:pt x="1717" y="1178"/>
                      <a:pt x="1724" y="1122"/>
                      <a:pt x="1724" y="1065"/>
                    </a:cubicBezTo>
                    <a:cubicBezTo>
                      <a:pt x="1724" y="999"/>
                      <a:pt x="1715" y="936"/>
                      <a:pt x="1698" y="876"/>
                    </a:cubicBezTo>
                    <a:cubicBezTo>
                      <a:pt x="1710" y="884"/>
                      <a:pt x="1724" y="887"/>
                      <a:pt x="1739" y="883"/>
                    </a:cubicBezTo>
                    <a:cubicBezTo>
                      <a:pt x="1739" y="883"/>
                      <a:pt x="1739" y="883"/>
                      <a:pt x="2009" y="795"/>
                    </a:cubicBezTo>
                    <a:cubicBezTo>
                      <a:pt x="2034" y="787"/>
                      <a:pt x="2047" y="759"/>
                      <a:pt x="2038" y="733"/>
                    </a:cubicBezTo>
                    <a:cubicBezTo>
                      <a:pt x="2038" y="733"/>
                      <a:pt x="2038" y="733"/>
                      <a:pt x="2032" y="716"/>
                    </a:cubicBezTo>
                    <a:cubicBezTo>
                      <a:pt x="2024" y="690"/>
                      <a:pt x="1997" y="675"/>
                      <a:pt x="1973" y="683"/>
                    </a:cubicBezTo>
                    <a:cubicBezTo>
                      <a:pt x="1973" y="683"/>
                      <a:pt x="1973" y="683"/>
                      <a:pt x="1702" y="771"/>
                    </a:cubicBezTo>
                    <a:cubicBezTo>
                      <a:pt x="1688" y="776"/>
                      <a:pt x="1678" y="787"/>
                      <a:pt x="1673" y="801"/>
                    </a:cubicBezTo>
                    <a:cubicBezTo>
                      <a:pt x="1673" y="801"/>
                      <a:pt x="1673" y="801"/>
                      <a:pt x="1673" y="802"/>
                    </a:cubicBezTo>
                    <a:cubicBezTo>
                      <a:pt x="1627" y="690"/>
                      <a:pt x="1554" y="592"/>
                      <a:pt x="1463" y="517"/>
                    </a:cubicBezTo>
                    <a:cubicBezTo>
                      <a:pt x="1476" y="516"/>
                      <a:pt x="1488" y="510"/>
                      <a:pt x="1496" y="499"/>
                    </a:cubicBezTo>
                    <a:cubicBezTo>
                      <a:pt x="1496" y="499"/>
                      <a:pt x="1496" y="499"/>
                      <a:pt x="1663" y="269"/>
                    </a:cubicBezTo>
                    <a:cubicBezTo>
                      <a:pt x="1678" y="248"/>
                      <a:pt x="1672" y="218"/>
                      <a:pt x="1650" y="202"/>
                    </a:cubicBezTo>
                    <a:cubicBezTo>
                      <a:pt x="1650" y="202"/>
                      <a:pt x="1650" y="202"/>
                      <a:pt x="1635" y="191"/>
                    </a:cubicBezTo>
                    <a:cubicBezTo>
                      <a:pt x="1613" y="175"/>
                      <a:pt x="1583" y="179"/>
                      <a:pt x="1568" y="200"/>
                    </a:cubicBezTo>
                    <a:cubicBezTo>
                      <a:pt x="1568" y="200"/>
                      <a:pt x="1568" y="200"/>
                      <a:pt x="1402" y="430"/>
                    </a:cubicBezTo>
                    <a:cubicBezTo>
                      <a:pt x="1393" y="441"/>
                      <a:pt x="1391" y="455"/>
                      <a:pt x="1395" y="468"/>
                    </a:cubicBezTo>
                    <a:cubicBezTo>
                      <a:pt x="1296" y="407"/>
                      <a:pt x="1183" y="369"/>
                      <a:pt x="1061" y="361"/>
                    </a:cubicBezTo>
                    <a:cubicBezTo>
                      <a:pt x="1068" y="353"/>
                      <a:pt x="1073" y="343"/>
                      <a:pt x="1073" y="331"/>
                    </a:cubicBezTo>
                    <a:cubicBezTo>
                      <a:pt x="1073" y="331"/>
                      <a:pt x="1073" y="331"/>
                      <a:pt x="1073" y="47"/>
                    </a:cubicBezTo>
                    <a:cubicBezTo>
                      <a:pt x="1073" y="21"/>
                      <a:pt x="1051" y="0"/>
                      <a:pt x="1024" y="0"/>
                    </a:cubicBezTo>
                    <a:cubicBezTo>
                      <a:pt x="1024" y="0"/>
                      <a:pt x="1024" y="0"/>
                      <a:pt x="1005" y="0"/>
                    </a:cubicBezTo>
                    <a:cubicBezTo>
                      <a:pt x="978" y="0"/>
                      <a:pt x="956" y="21"/>
                      <a:pt x="956" y="47"/>
                    </a:cubicBezTo>
                    <a:cubicBezTo>
                      <a:pt x="956" y="47"/>
                      <a:pt x="956" y="47"/>
                      <a:pt x="956" y="331"/>
                    </a:cubicBezTo>
                    <a:cubicBezTo>
                      <a:pt x="956" y="343"/>
                      <a:pt x="961" y="354"/>
                      <a:pt x="968" y="362"/>
                    </a:cubicBezTo>
                    <a:cubicBezTo>
                      <a:pt x="849" y="371"/>
                      <a:pt x="737" y="409"/>
                      <a:pt x="641" y="470"/>
                    </a:cubicBezTo>
                    <a:cubicBezTo>
                      <a:pt x="641" y="461"/>
                      <a:pt x="639" y="452"/>
                      <a:pt x="633" y="444"/>
                    </a:cubicBezTo>
                    <a:cubicBezTo>
                      <a:pt x="633" y="444"/>
                      <a:pt x="633" y="444"/>
                      <a:pt x="466" y="214"/>
                    </a:cubicBezTo>
                    <a:cubicBezTo>
                      <a:pt x="450" y="193"/>
                      <a:pt x="420" y="189"/>
                      <a:pt x="398" y="205"/>
                    </a:cubicBezTo>
                    <a:cubicBezTo>
                      <a:pt x="398" y="205"/>
                      <a:pt x="398" y="205"/>
                      <a:pt x="383" y="216"/>
                    </a:cubicBezTo>
                    <a:cubicBezTo>
                      <a:pt x="361" y="232"/>
                      <a:pt x="356" y="262"/>
                      <a:pt x="371" y="283"/>
                    </a:cubicBezTo>
                    <a:cubicBezTo>
                      <a:pt x="371" y="283"/>
                      <a:pt x="371" y="283"/>
                      <a:pt x="538" y="513"/>
                    </a:cubicBezTo>
                    <a:cubicBezTo>
                      <a:pt x="544" y="521"/>
                      <a:pt x="552" y="526"/>
                      <a:pt x="562" y="529"/>
                    </a:cubicBezTo>
                    <a:cubicBezTo>
                      <a:pt x="474" y="604"/>
                      <a:pt x="406" y="699"/>
                      <a:pt x="363" y="807"/>
                    </a:cubicBezTo>
                    <a:cubicBezTo>
                      <a:pt x="358" y="801"/>
                      <a:pt x="351" y="796"/>
                      <a:pt x="343" y="794"/>
                    </a:cubicBezTo>
                    <a:cubicBezTo>
                      <a:pt x="343" y="794"/>
                      <a:pt x="343" y="794"/>
                      <a:pt x="73" y="706"/>
                    </a:cubicBezTo>
                    <a:cubicBezTo>
                      <a:pt x="49" y="698"/>
                      <a:pt x="22" y="712"/>
                      <a:pt x="14" y="739"/>
                    </a:cubicBezTo>
                    <a:cubicBezTo>
                      <a:pt x="14" y="739"/>
                      <a:pt x="14" y="739"/>
                      <a:pt x="8" y="756"/>
                    </a:cubicBezTo>
                    <a:cubicBezTo>
                      <a:pt x="0" y="782"/>
                      <a:pt x="13" y="809"/>
                      <a:pt x="37" y="817"/>
                    </a:cubicBezTo>
                    <a:cubicBezTo>
                      <a:pt x="37" y="817"/>
                      <a:pt x="37" y="817"/>
                      <a:pt x="307" y="905"/>
                    </a:cubicBezTo>
                    <a:cubicBezTo>
                      <a:pt x="315" y="908"/>
                      <a:pt x="324" y="908"/>
                      <a:pt x="332" y="906"/>
                    </a:cubicBezTo>
                    <a:cubicBezTo>
                      <a:pt x="321" y="957"/>
                      <a:pt x="314" y="1010"/>
                      <a:pt x="314" y="1065"/>
                    </a:cubicBezTo>
                    <a:cubicBezTo>
                      <a:pt x="314" y="1128"/>
                      <a:pt x="323" y="1188"/>
                      <a:pt x="338" y="1246"/>
                    </a:cubicBezTo>
                    <a:cubicBezTo>
                      <a:pt x="330" y="1245"/>
                      <a:pt x="322" y="1245"/>
                      <a:pt x="314" y="1247"/>
                    </a:cubicBezTo>
                    <a:cubicBezTo>
                      <a:pt x="314" y="1247"/>
                      <a:pt x="314" y="1247"/>
                      <a:pt x="44" y="1335"/>
                    </a:cubicBezTo>
                    <a:cubicBezTo>
                      <a:pt x="20" y="1343"/>
                      <a:pt x="7" y="1371"/>
                      <a:pt x="15" y="1397"/>
                    </a:cubicBezTo>
                    <a:cubicBezTo>
                      <a:pt x="15" y="1397"/>
                      <a:pt x="15" y="1397"/>
                      <a:pt x="21" y="1414"/>
                    </a:cubicBezTo>
                    <a:cubicBezTo>
                      <a:pt x="29" y="1440"/>
                      <a:pt x="56" y="1455"/>
                      <a:pt x="80" y="1447"/>
                    </a:cubicBezTo>
                    <a:cubicBezTo>
                      <a:pt x="80" y="1447"/>
                      <a:pt x="80" y="1447"/>
                      <a:pt x="350" y="1359"/>
                    </a:cubicBezTo>
                    <a:cubicBezTo>
                      <a:pt x="359" y="1356"/>
                      <a:pt x="366" y="1350"/>
                      <a:pt x="372" y="1343"/>
                    </a:cubicBezTo>
                    <a:cubicBezTo>
                      <a:pt x="418" y="1450"/>
                      <a:pt x="490" y="1543"/>
                      <a:pt x="579" y="1615"/>
                    </a:cubicBezTo>
                    <a:cubicBezTo>
                      <a:pt x="571" y="1618"/>
                      <a:pt x="563" y="1623"/>
                      <a:pt x="557" y="1631"/>
                    </a:cubicBezTo>
                    <a:cubicBezTo>
                      <a:pt x="557" y="1631"/>
                      <a:pt x="557" y="1631"/>
                      <a:pt x="390" y="1861"/>
                    </a:cubicBezTo>
                    <a:cubicBezTo>
                      <a:pt x="375" y="1882"/>
                      <a:pt x="380" y="1911"/>
                      <a:pt x="402" y="1927"/>
                    </a:cubicBezTo>
                    <a:cubicBezTo>
                      <a:pt x="402" y="1927"/>
                      <a:pt x="402" y="1927"/>
                      <a:pt x="417" y="1938"/>
                    </a:cubicBezTo>
                    <a:cubicBezTo>
                      <a:pt x="439" y="1954"/>
                      <a:pt x="470" y="1950"/>
                      <a:pt x="485" y="1929"/>
                    </a:cubicBezTo>
                    <a:cubicBezTo>
                      <a:pt x="485" y="1929"/>
                      <a:pt x="485" y="1929"/>
                      <a:pt x="652" y="1700"/>
                    </a:cubicBezTo>
                    <a:cubicBezTo>
                      <a:pt x="658" y="1691"/>
                      <a:pt x="661" y="1681"/>
                      <a:pt x="660" y="1671"/>
                    </a:cubicBezTo>
                    <a:cubicBezTo>
                      <a:pt x="758" y="1729"/>
                      <a:pt x="871" y="1764"/>
                      <a:pt x="991" y="1769"/>
                    </a:cubicBezTo>
                    <a:cubicBezTo>
                      <a:pt x="984" y="1777"/>
                      <a:pt x="979" y="1787"/>
                      <a:pt x="979" y="1799"/>
                    </a:cubicBezTo>
                    <a:cubicBezTo>
                      <a:pt x="979" y="1799"/>
                      <a:pt x="979" y="1799"/>
                      <a:pt x="979" y="2082"/>
                    </a:cubicBezTo>
                    <a:cubicBezTo>
                      <a:pt x="979" y="2108"/>
                      <a:pt x="1002" y="2129"/>
                      <a:pt x="1029" y="2129"/>
                    </a:cubicBezTo>
                    <a:cubicBezTo>
                      <a:pt x="1029" y="2129"/>
                      <a:pt x="1029" y="2129"/>
                      <a:pt x="1047" y="2129"/>
                    </a:cubicBezTo>
                    <a:cubicBezTo>
                      <a:pt x="1074" y="2129"/>
                      <a:pt x="1097" y="2108"/>
                      <a:pt x="1097" y="2082"/>
                    </a:cubicBezTo>
                    <a:cubicBezTo>
                      <a:pt x="1097" y="2082"/>
                      <a:pt x="1097" y="2082"/>
                      <a:pt x="1097" y="1799"/>
                    </a:cubicBezTo>
                    <a:cubicBezTo>
                      <a:pt x="1097" y="1786"/>
                      <a:pt x="1091" y="1775"/>
                      <a:pt x="1083" y="1767"/>
                    </a:cubicBezTo>
                    <a:cubicBezTo>
                      <a:pt x="1204" y="1756"/>
                      <a:pt x="1317" y="1714"/>
                      <a:pt x="1414" y="1649"/>
                    </a:cubicBezTo>
                    <a:cubicBezTo>
                      <a:pt x="1411" y="1662"/>
                      <a:pt x="1413" y="1675"/>
                      <a:pt x="1421" y="1686"/>
                    </a:cubicBezTo>
                    <a:cubicBezTo>
                      <a:pt x="1421" y="1686"/>
                      <a:pt x="1421" y="1686"/>
                      <a:pt x="1587" y="1915"/>
                    </a:cubicBezTo>
                    <a:cubicBezTo>
                      <a:pt x="1602" y="1936"/>
                      <a:pt x="1632" y="1940"/>
                      <a:pt x="1654" y="1924"/>
                    </a:cubicBezTo>
                    <a:cubicBezTo>
                      <a:pt x="1654" y="1924"/>
                      <a:pt x="1654" y="1924"/>
                      <a:pt x="1669" y="1913"/>
                    </a:cubicBezTo>
                    <a:cubicBezTo>
                      <a:pt x="1691" y="1898"/>
                      <a:pt x="1697" y="1868"/>
                      <a:pt x="1682" y="1847"/>
                    </a:cubicBezTo>
                    <a:cubicBezTo>
                      <a:pt x="1682" y="1847"/>
                      <a:pt x="1682" y="1847"/>
                      <a:pt x="1515" y="1617"/>
                    </a:cubicBezTo>
                    <a:cubicBezTo>
                      <a:pt x="1506" y="1605"/>
                      <a:pt x="1493" y="1599"/>
                      <a:pt x="1479" y="1599"/>
                    </a:cubicBezTo>
                    <a:cubicBezTo>
                      <a:pt x="1569" y="1521"/>
                      <a:pt x="1639" y="1421"/>
                      <a:pt x="1681" y="1307"/>
                    </a:cubicBezTo>
                    <a:cubicBezTo>
                      <a:pt x="1685" y="1321"/>
                      <a:pt x="1696" y="1332"/>
                      <a:pt x="1710" y="1336"/>
                    </a:cubicBezTo>
                    <a:cubicBezTo>
                      <a:pt x="1710" y="1336"/>
                      <a:pt x="1710" y="1336"/>
                      <a:pt x="1980" y="1424"/>
                    </a:cubicBezTo>
                    <a:cubicBezTo>
                      <a:pt x="2005" y="1432"/>
                      <a:pt x="2031" y="1418"/>
                      <a:pt x="2040" y="1391"/>
                    </a:cubicBezTo>
                    <a:cubicBezTo>
                      <a:pt x="2040" y="1391"/>
                      <a:pt x="2040" y="1391"/>
                      <a:pt x="2045" y="1374"/>
                    </a:cubicBezTo>
                    <a:cubicBezTo>
                      <a:pt x="2054" y="1348"/>
                      <a:pt x="2041" y="1321"/>
                      <a:pt x="2016" y="1313"/>
                    </a:cubicBezTo>
                    <a:close/>
                    <a:moveTo>
                      <a:pt x="1492" y="870"/>
                    </a:moveTo>
                    <a:cubicBezTo>
                      <a:pt x="1492" y="870"/>
                      <a:pt x="1492" y="870"/>
                      <a:pt x="1318" y="917"/>
                    </a:cubicBezTo>
                    <a:cubicBezTo>
                      <a:pt x="1299" y="878"/>
                      <a:pt x="1273" y="844"/>
                      <a:pt x="1241" y="816"/>
                    </a:cubicBezTo>
                    <a:cubicBezTo>
                      <a:pt x="1241" y="816"/>
                      <a:pt x="1241" y="816"/>
                      <a:pt x="1340" y="667"/>
                    </a:cubicBezTo>
                    <a:cubicBezTo>
                      <a:pt x="1406" y="721"/>
                      <a:pt x="1459" y="790"/>
                      <a:pt x="1492" y="870"/>
                    </a:cubicBezTo>
                    <a:close/>
                    <a:moveTo>
                      <a:pt x="1289" y="632"/>
                    </a:moveTo>
                    <a:cubicBezTo>
                      <a:pt x="1289" y="632"/>
                      <a:pt x="1289" y="632"/>
                      <a:pt x="1177" y="771"/>
                    </a:cubicBezTo>
                    <a:cubicBezTo>
                      <a:pt x="1140" y="751"/>
                      <a:pt x="1098" y="737"/>
                      <a:pt x="1053" y="733"/>
                    </a:cubicBezTo>
                    <a:cubicBezTo>
                      <a:pt x="1053" y="733"/>
                      <a:pt x="1053" y="733"/>
                      <a:pt x="1046" y="555"/>
                    </a:cubicBezTo>
                    <a:cubicBezTo>
                      <a:pt x="1135" y="560"/>
                      <a:pt x="1218" y="587"/>
                      <a:pt x="1289" y="632"/>
                    </a:cubicBezTo>
                    <a:close/>
                    <a:moveTo>
                      <a:pt x="985" y="556"/>
                    </a:moveTo>
                    <a:cubicBezTo>
                      <a:pt x="985" y="556"/>
                      <a:pt x="985" y="556"/>
                      <a:pt x="976" y="734"/>
                    </a:cubicBezTo>
                    <a:cubicBezTo>
                      <a:pt x="930" y="740"/>
                      <a:pt x="888" y="755"/>
                      <a:pt x="850" y="777"/>
                    </a:cubicBezTo>
                    <a:cubicBezTo>
                      <a:pt x="850" y="777"/>
                      <a:pt x="850" y="777"/>
                      <a:pt x="742" y="640"/>
                    </a:cubicBezTo>
                    <a:cubicBezTo>
                      <a:pt x="742" y="640"/>
                      <a:pt x="742" y="640"/>
                      <a:pt x="740" y="638"/>
                    </a:cubicBezTo>
                    <a:cubicBezTo>
                      <a:pt x="811" y="591"/>
                      <a:pt x="895" y="562"/>
                      <a:pt x="985" y="556"/>
                    </a:cubicBezTo>
                    <a:close/>
                    <a:moveTo>
                      <a:pt x="691" y="674"/>
                    </a:moveTo>
                    <a:cubicBezTo>
                      <a:pt x="691" y="674"/>
                      <a:pt x="691" y="674"/>
                      <a:pt x="692" y="675"/>
                    </a:cubicBezTo>
                    <a:cubicBezTo>
                      <a:pt x="692" y="675"/>
                      <a:pt x="692" y="675"/>
                      <a:pt x="788" y="824"/>
                    </a:cubicBezTo>
                    <a:cubicBezTo>
                      <a:pt x="756" y="855"/>
                      <a:pt x="730" y="892"/>
                      <a:pt x="712" y="934"/>
                    </a:cubicBezTo>
                    <a:cubicBezTo>
                      <a:pt x="712" y="934"/>
                      <a:pt x="712" y="934"/>
                      <a:pt x="546" y="889"/>
                    </a:cubicBezTo>
                    <a:cubicBezTo>
                      <a:pt x="546" y="889"/>
                      <a:pt x="546" y="889"/>
                      <a:pt x="541" y="887"/>
                    </a:cubicBezTo>
                    <a:cubicBezTo>
                      <a:pt x="572" y="803"/>
                      <a:pt x="624" y="730"/>
                      <a:pt x="691" y="674"/>
                    </a:cubicBezTo>
                    <a:close/>
                    <a:moveTo>
                      <a:pt x="528" y="1206"/>
                    </a:moveTo>
                    <a:cubicBezTo>
                      <a:pt x="516" y="1161"/>
                      <a:pt x="509" y="1114"/>
                      <a:pt x="509" y="1065"/>
                    </a:cubicBezTo>
                    <a:cubicBezTo>
                      <a:pt x="509" y="1024"/>
                      <a:pt x="513" y="984"/>
                      <a:pt x="523" y="945"/>
                    </a:cubicBezTo>
                    <a:cubicBezTo>
                      <a:pt x="523" y="945"/>
                      <a:pt x="523" y="945"/>
                      <a:pt x="526" y="946"/>
                    </a:cubicBezTo>
                    <a:cubicBezTo>
                      <a:pt x="526" y="946"/>
                      <a:pt x="526" y="946"/>
                      <a:pt x="690" y="1009"/>
                    </a:cubicBezTo>
                    <a:cubicBezTo>
                      <a:pt x="687" y="1027"/>
                      <a:pt x="685" y="1046"/>
                      <a:pt x="685" y="1065"/>
                    </a:cubicBezTo>
                    <a:cubicBezTo>
                      <a:pt x="685" y="1092"/>
                      <a:pt x="689" y="1119"/>
                      <a:pt x="695" y="1144"/>
                    </a:cubicBezTo>
                    <a:cubicBezTo>
                      <a:pt x="695" y="1144"/>
                      <a:pt x="695" y="1144"/>
                      <a:pt x="534" y="1204"/>
                    </a:cubicBezTo>
                    <a:cubicBezTo>
                      <a:pt x="534" y="1204"/>
                      <a:pt x="534" y="1204"/>
                      <a:pt x="528" y="1206"/>
                    </a:cubicBezTo>
                    <a:close/>
                    <a:moveTo>
                      <a:pt x="708" y="1470"/>
                    </a:moveTo>
                    <a:cubicBezTo>
                      <a:pt x="639" y="1416"/>
                      <a:pt x="583" y="1346"/>
                      <a:pt x="549" y="1264"/>
                    </a:cubicBezTo>
                    <a:cubicBezTo>
                      <a:pt x="549" y="1264"/>
                      <a:pt x="549" y="1264"/>
                      <a:pt x="552" y="1263"/>
                    </a:cubicBezTo>
                    <a:cubicBezTo>
                      <a:pt x="552" y="1263"/>
                      <a:pt x="552" y="1263"/>
                      <a:pt x="722" y="1217"/>
                    </a:cubicBezTo>
                    <a:cubicBezTo>
                      <a:pt x="743" y="1257"/>
                      <a:pt x="771" y="1293"/>
                      <a:pt x="806" y="1322"/>
                    </a:cubicBezTo>
                    <a:cubicBezTo>
                      <a:pt x="806" y="1322"/>
                      <a:pt x="806" y="1322"/>
                      <a:pt x="710" y="1467"/>
                    </a:cubicBezTo>
                    <a:lnTo>
                      <a:pt x="708" y="1470"/>
                    </a:lnTo>
                    <a:close/>
                    <a:moveTo>
                      <a:pt x="759" y="1504"/>
                    </a:moveTo>
                    <a:cubicBezTo>
                      <a:pt x="759" y="1504"/>
                      <a:pt x="759" y="1504"/>
                      <a:pt x="871" y="1364"/>
                    </a:cubicBezTo>
                    <a:cubicBezTo>
                      <a:pt x="910" y="1383"/>
                      <a:pt x="953" y="1395"/>
                      <a:pt x="999" y="1398"/>
                    </a:cubicBezTo>
                    <a:cubicBezTo>
                      <a:pt x="999" y="1398"/>
                      <a:pt x="999" y="1398"/>
                      <a:pt x="1007" y="1575"/>
                    </a:cubicBezTo>
                    <a:cubicBezTo>
                      <a:pt x="916" y="1573"/>
                      <a:pt x="832" y="1547"/>
                      <a:pt x="759" y="1504"/>
                    </a:cubicBezTo>
                    <a:close/>
                    <a:moveTo>
                      <a:pt x="1013" y="1214"/>
                    </a:moveTo>
                    <a:cubicBezTo>
                      <a:pt x="932" y="1214"/>
                      <a:pt x="866" y="1148"/>
                      <a:pt x="866" y="1067"/>
                    </a:cubicBezTo>
                    <a:cubicBezTo>
                      <a:pt x="866" y="986"/>
                      <a:pt x="932" y="920"/>
                      <a:pt x="1013" y="920"/>
                    </a:cubicBezTo>
                    <a:cubicBezTo>
                      <a:pt x="1094" y="920"/>
                      <a:pt x="1160" y="986"/>
                      <a:pt x="1160" y="1067"/>
                    </a:cubicBezTo>
                    <a:cubicBezTo>
                      <a:pt x="1160" y="1148"/>
                      <a:pt x="1094" y="1214"/>
                      <a:pt x="1013" y="1214"/>
                    </a:cubicBezTo>
                    <a:close/>
                    <a:moveTo>
                      <a:pt x="1068" y="1573"/>
                    </a:moveTo>
                    <a:cubicBezTo>
                      <a:pt x="1068" y="1573"/>
                      <a:pt x="1068" y="1573"/>
                      <a:pt x="1077" y="1393"/>
                    </a:cubicBezTo>
                    <a:cubicBezTo>
                      <a:pt x="1121" y="1386"/>
                      <a:pt x="1161" y="1370"/>
                      <a:pt x="1197" y="1347"/>
                    </a:cubicBezTo>
                    <a:cubicBezTo>
                      <a:pt x="1197" y="1347"/>
                      <a:pt x="1197" y="1347"/>
                      <a:pt x="1308" y="1486"/>
                    </a:cubicBezTo>
                    <a:cubicBezTo>
                      <a:pt x="1238" y="1534"/>
                      <a:pt x="1156" y="1564"/>
                      <a:pt x="1068" y="1573"/>
                    </a:cubicBezTo>
                    <a:close/>
                    <a:moveTo>
                      <a:pt x="1357" y="1448"/>
                    </a:moveTo>
                    <a:cubicBezTo>
                      <a:pt x="1357" y="1448"/>
                      <a:pt x="1357" y="1448"/>
                      <a:pt x="1258" y="1298"/>
                    </a:cubicBezTo>
                    <a:cubicBezTo>
                      <a:pt x="1288" y="1267"/>
                      <a:pt x="1311" y="1232"/>
                      <a:pt x="1329" y="1192"/>
                    </a:cubicBezTo>
                    <a:cubicBezTo>
                      <a:pt x="1329" y="1192"/>
                      <a:pt x="1329" y="1192"/>
                      <a:pt x="1499" y="1239"/>
                    </a:cubicBezTo>
                    <a:cubicBezTo>
                      <a:pt x="1470" y="1320"/>
                      <a:pt x="1421" y="1392"/>
                      <a:pt x="1357" y="1448"/>
                    </a:cubicBezTo>
                    <a:close/>
                    <a:moveTo>
                      <a:pt x="1516" y="1180"/>
                    </a:moveTo>
                    <a:cubicBezTo>
                      <a:pt x="1516" y="1180"/>
                      <a:pt x="1516" y="1180"/>
                      <a:pt x="1350" y="1116"/>
                    </a:cubicBezTo>
                    <a:cubicBezTo>
                      <a:pt x="1352" y="1099"/>
                      <a:pt x="1354" y="1082"/>
                      <a:pt x="1354" y="1065"/>
                    </a:cubicBezTo>
                    <a:cubicBezTo>
                      <a:pt x="1354" y="1039"/>
                      <a:pt x="1351" y="1014"/>
                      <a:pt x="1345" y="991"/>
                    </a:cubicBezTo>
                    <a:cubicBezTo>
                      <a:pt x="1345" y="991"/>
                      <a:pt x="1345" y="991"/>
                      <a:pt x="1511" y="928"/>
                    </a:cubicBezTo>
                    <a:cubicBezTo>
                      <a:pt x="1523" y="972"/>
                      <a:pt x="1529" y="1018"/>
                      <a:pt x="1529" y="1065"/>
                    </a:cubicBezTo>
                    <a:cubicBezTo>
                      <a:pt x="1529" y="1104"/>
                      <a:pt x="1525" y="1143"/>
                      <a:pt x="1516" y="1180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322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2F8231-9A35-4C15-98A7-7B0F7C510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397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5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D32E7A7-843E-4BE5-872D-2AB5B230433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2400" dirty="0">
              <a:solidFill>
                <a:schemeClr val="bg1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3A43C7-69A7-4FD2-88FE-E5CBC1DB4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25" y="431414"/>
            <a:ext cx="10933350" cy="332399"/>
          </a:xfrm>
        </p:spPr>
        <p:txBody>
          <a:bodyPr/>
          <a:lstStyle/>
          <a:p>
            <a:r>
              <a:rPr lang="el-GR" dirty="0"/>
              <a:t>16 μεγάλες επενδύσεις σε Δ. Μακεδονία και Μεγαλόπολη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907974-027C-4453-B83A-F3DF5D38A1A7}"/>
              </a:ext>
            </a:extLst>
          </p:cNvPr>
          <p:cNvSpPr/>
          <p:nvPr/>
        </p:nvSpPr>
        <p:spPr>
          <a:xfrm>
            <a:off x="74428" y="1096211"/>
            <a:ext cx="12642112" cy="5434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8038" lvl="1" indent="-446088">
              <a:lnSpc>
                <a:spcPct val="114000"/>
              </a:lnSpc>
              <a:buAutoNum type="arabicPeriod"/>
            </a:pPr>
            <a:r>
              <a:rPr lang="el-GR" b="1" dirty="0"/>
              <a:t>Δημιουργία φωτοβολταϊκών πάρκων, συνολικής ισχύος 2,3  GW στη Δ. Μακεδονία 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	Πρώτο μεγάλο project - ΔΕΗ Ανανεώσιμες: Κατασκευή πάρκου ισχύος 230 MW,  επένδυση 133 εκατ. €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2.	</a:t>
            </a:r>
            <a:r>
              <a:rPr lang="el-GR" b="1" dirty="0"/>
              <a:t>Ανάπτυξη φωτοβολταϊκών πάρκων ισχύος 0,5 GW στη Μεγαλόπολη (ΔΕΗ)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3.	</a:t>
            </a:r>
            <a:r>
              <a:rPr lang="el-GR" b="1" dirty="0"/>
              <a:t>Άμεση έναρξη κατασκευής του φωτοβολταϊκού πάρκου των ΕΛΠΕ στην Κοζάνη, επένδυση 130 εκατ. €   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4.	</a:t>
            </a:r>
            <a:r>
              <a:rPr lang="el-GR" b="1" dirty="0"/>
              <a:t>Μονάδα παραγωγής πράσινου υδρογόνου </a:t>
            </a:r>
            <a:r>
              <a:rPr lang="el-GR" dirty="0"/>
              <a:t>(Solaris)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5.	</a:t>
            </a:r>
            <a:r>
              <a:rPr lang="el-GR" b="1" dirty="0"/>
              <a:t>Εγκατάσταση αποθήκευσης ενέργειας</a:t>
            </a:r>
            <a:r>
              <a:rPr lang="el-GR" dirty="0"/>
              <a:t> </a:t>
            </a:r>
            <a:r>
              <a:rPr lang="el-GR" b="1" dirty="0"/>
              <a:t>στη Δ. Μακεδονία </a:t>
            </a:r>
            <a:r>
              <a:rPr lang="el-GR" dirty="0"/>
              <a:t>(Eunice) 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6.	</a:t>
            </a:r>
            <a:r>
              <a:rPr lang="el-GR" b="1" dirty="0"/>
              <a:t>Δημιουργία πρότυπης φαρμακοβιομηχανίας</a:t>
            </a:r>
            <a:r>
              <a:rPr lang="en-US" b="1" dirty="0"/>
              <a:t> </a:t>
            </a:r>
            <a:r>
              <a:rPr lang="el-GR" b="1" dirty="0"/>
              <a:t>στη Μεγαλόπολη 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7.	</a:t>
            </a:r>
            <a:r>
              <a:rPr lang="el-GR" b="1" dirty="0"/>
              <a:t>Ανάπτυξη έξυπνης μονάδας υδροπονίας στη Δ. Μακεδονία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8.	</a:t>
            </a:r>
            <a:r>
              <a:rPr lang="el-GR" b="1" dirty="0"/>
              <a:t>Ανάπτυξη έξυπνης μονάδας υδροπονίας στη Μεγαλόπολη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9.	</a:t>
            </a:r>
            <a:r>
              <a:rPr lang="el-GR" b="1" dirty="0"/>
              <a:t>Βιομηχανικό πάρκο ηλεκτροκίνησης στη Δ. Μακεδονία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0.	</a:t>
            </a:r>
            <a:r>
              <a:rPr lang="el-GR" b="1" dirty="0"/>
              <a:t>Οικοσύστημα οινικού τουρισμού, στα πρότυπα της  Βόρειας Ιταλίας στη Δ. Μακεδονία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1.	</a:t>
            </a:r>
            <a:r>
              <a:rPr lang="el-GR" b="1" dirty="0"/>
              <a:t>Πεδίο ενεργειακής έρευνας και τεχνολογίας, με φορέα υλοποίησης το Πανεπιστήμιο Δ. Μακεδονίας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2.	</a:t>
            </a:r>
            <a:r>
              <a:rPr lang="el-GR" b="1" dirty="0"/>
              <a:t>Υπερσύγχρονη κλινική φυσικής αποκατάστασης στη Δ. Μακεδονία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3.	</a:t>
            </a:r>
            <a:r>
              <a:rPr lang="el-GR" b="1" dirty="0"/>
              <a:t>Δημιουργία θεματικού πάρκου ψυχαγωγίας και εκπαίδευσης στη Μεγαλόπολη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4.	</a:t>
            </a:r>
            <a:r>
              <a:rPr lang="el-GR" b="1" dirty="0"/>
              <a:t>Δημιουργία μονάδας διαχείρισης αποβλήτων στη Δ. Μακεδονία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5.	</a:t>
            </a:r>
            <a:r>
              <a:rPr lang="el-GR" b="1" dirty="0"/>
              <a:t>Κέντρο επεξεργασίας βιομάζας στη Δ. Μακεδονία</a:t>
            </a:r>
          </a:p>
          <a:p>
            <a:pPr marL="808038" indent="-446088">
              <a:lnSpc>
                <a:spcPct val="114000"/>
              </a:lnSpc>
            </a:pPr>
            <a:r>
              <a:rPr lang="el-GR" dirty="0"/>
              <a:t>16.	</a:t>
            </a:r>
            <a:r>
              <a:rPr lang="el-GR" b="1" dirty="0"/>
              <a:t>Δημιουργία επιχειρηματικού πάρκου στη Μεγαλόπολη</a:t>
            </a:r>
            <a:endParaRPr lang="el-G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2FB82D-908B-4945-8FC2-8114EC6D4A6C}"/>
              </a:ext>
            </a:extLst>
          </p:cNvPr>
          <p:cNvSpPr/>
          <p:nvPr/>
        </p:nvSpPr>
        <p:spPr>
          <a:xfrm>
            <a:off x="7943171" y="5706984"/>
            <a:ext cx="3876050" cy="10772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l-GR" sz="1600" dirty="0">
                <a:solidFill>
                  <a:srgbClr val="FFFF00"/>
                </a:solidFill>
              </a:rPr>
              <a:t>Από τις 9 Ιουλίου έχουν</a:t>
            </a:r>
            <a:r>
              <a:rPr lang="en-US" sz="1600" dirty="0">
                <a:solidFill>
                  <a:srgbClr val="FFFF00"/>
                </a:solidFill>
              </a:rPr>
              <a:t> </a:t>
            </a:r>
            <a:r>
              <a:rPr lang="el-GR" sz="1600" dirty="0">
                <a:solidFill>
                  <a:srgbClr val="FFFF00"/>
                </a:solidFill>
              </a:rPr>
              <a:t>κατατεθεί πάνω από </a:t>
            </a:r>
            <a:r>
              <a:rPr lang="el-GR" sz="2400" b="1" dirty="0">
                <a:solidFill>
                  <a:srgbClr val="FFFF00"/>
                </a:solidFill>
              </a:rPr>
              <a:t>70 επενδυτικά σχέδια</a:t>
            </a:r>
            <a:endParaRPr lang="en-US" sz="1600" b="1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46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33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400" dirty="0">
              <a:solidFill>
                <a:srgbClr val="FFFFFF"/>
              </a:solidFill>
              <a:latin typeface="Trebuchet MS"/>
              <a:ea typeface="+mj-ea"/>
              <a:cs typeface="+mj-c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941796"/>
          </a:xfrm>
        </p:spPr>
        <p:txBody>
          <a:bodyPr/>
          <a:lstStyle/>
          <a:p>
            <a:r>
              <a:rPr lang="el-GR" dirty="0">
                <a:solidFill>
                  <a:srgbClr val="9E9A00"/>
                </a:solidFill>
              </a:rPr>
              <a:t>Προσδιορισμός κινήτρων</a:t>
            </a:r>
            <a:r>
              <a:rPr lang="el-GR" dirty="0"/>
              <a:t>: πλαίσιο παραμέτρων που  διαμορφώνει τις σχετικές απαιτήσεις για ενίσχυση </a:t>
            </a:r>
            <a:endParaRPr lang="en-US" dirty="0"/>
          </a:p>
        </p:txBody>
      </p:sp>
      <p:sp>
        <p:nvSpPr>
          <p:cNvPr id="63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Πηγή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: </a:t>
            </a: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Ανάλυση Ομάδας </a:t>
            </a:r>
            <a:r>
              <a:rPr lang="el-G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ΣΔΑΜ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64572" y="1693334"/>
            <a:ext cx="11277804" cy="46228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Υφιστάμενο όρια ενίσχυσης</a:t>
            </a:r>
            <a:endParaRPr lang="en-US" sz="15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449263" lvl="2" indent="-271463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Προκύπτουν από τον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υφιστάμενο Χάρτη Περιφερειακών Ενισχύσεων 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που είναι σε ισχύ μέχρι τέλος του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2021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</a:t>
            </a:r>
            <a:endParaRPr lang="en-US" sz="15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449263" lvl="2" indent="-271463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Ισχύει ο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κανόνας de </a:t>
            </a:r>
            <a:r>
              <a:rPr lang="el-GR" sz="1500" b="1" dirty="0" err="1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minimis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 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που προβλέπει ανώτατο όριο ενίσχυσης € 200 χιλ.. </a:t>
            </a:r>
          </a:p>
          <a:p>
            <a:pPr marL="449263" lvl="2" indent="-271463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Σύμφωνα με το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Ν. 4399/2016 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(όπως ισχύει), το μέγιστο ύψος ενίσχυσης για κάθε επενδυτικό σχέδιο είναι τα € 5 εκ., για κάθε επιχείρηση τα € 10 εκ. και για κάθε όμιλο επιχειρήσεων τα € 20 εκ..</a:t>
            </a:r>
          </a:p>
          <a:p>
            <a:pPr marL="0" lvl="1">
              <a:buClr>
                <a:schemeClr val="tx2">
                  <a:lumMod val="100000"/>
                </a:schemeClr>
              </a:buClr>
              <a:buSzPct val="100000"/>
            </a:pPr>
            <a:endParaRPr lang="el-GR" sz="15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Ζητήματα συμβατότητας</a:t>
            </a:r>
            <a:endParaRPr lang="en-US" sz="15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463550" lvl="1" indent="-285750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Υπάρχουν κίνητρα που είναι συμβατά με την ισχύουσα νομοθεσία περί κρατικών ενισχύσεων και δεν εκτιμάται πως θα χρειαστεί κάποιος ειδικός χειρισμός</a:t>
            </a:r>
            <a:endParaRPr lang="en-US" sz="15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463550" lvl="1" indent="-285750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Υπάρχουν κίνητρα που είναι συμβατά ωστόσο εκτιμάται πως θα χρειαστεί σχετική γνωστοποίηση</a:t>
            </a:r>
          </a:p>
          <a:p>
            <a:pPr marL="463550" lvl="1" indent="-285750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Υπάρχουν κίνητρα που δεν είναι συμβατά και χρήζουν έγκρισης μέσα από σχετική κοινοποίηση και δημιουργία ειδικού καθεστώτος </a:t>
            </a:r>
          </a:p>
          <a:p>
            <a:pPr marL="0" lvl="1">
              <a:buClr>
                <a:schemeClr val="tx2">
                  <a:lumMod val="100000"/>
                </a:schemeClr>
              </a:buClr>
              <a:buSzPct val="100000"/>
            </a:pPr>
            <a:endParaRPr lang="el-GR" sz="15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0" lvl="1"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Προσδιορισμός νέου ορίου και έντασης ενίσχυσης</a:t>
            </a:r>
          </a:p>
          <a:p>
            <a:pPr marL="449263" lvl="1" indent="-268288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Λαμβάνοντας υπόψη τα υπό εξέταση επενδυτικά σχεδία και τις λοιπές παραμέτρους (υφιστάμενες επιχειρήσεις), εκτιμάται πως τα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σχετικά όρια του ΧΠΕ 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χρειάζεται να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αυξηθούν</a:t>
            </a:r>
          </a:p>
          <a:p>
            <a:pPr marL="449263" lvl="1" indent="-268288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Στα κίνητρα αυτά θα ισχύει ο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κανόνας της σώρευσης 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έως τα νέα προτεινόμενα όρια</a:t>
            </a:r>
          </a:p>
          <a:p>
            <a:pPr marL="449263" lvl="1" indent="-268288">
              <a:buClr>
                <a:schemeClr val="tx2">
                  <a:lumMod val="100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Η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ένταση της ενίσχυσης 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(δηλαδή το απόλυτο μέγεθος) θα εξαρτάται από το </a:t>
            </a:r>
            <a:r>
              <a:rPr lang="el-GR" sz="1500" b="1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ύψος του χρηματοδοτικού κενού</a:t>
            </a:r>
            <a:r>
              <a:rPr lang="el-GR" sz="15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, ενώ σε κάθε περίπτωση δεν θα ξεπερνά τα σχετικά όρια </a:t>
            </a:r>
          </a:p>
        </p:txBody>
      </p:sp>
    </p:spTree>
    <p:extLst>
      <p:ext uri="{BB962C8B-B14F-4D97-AF65-F5344CB8AC3E}">
        <p14:creationId xmlns:p14="http://schemas.microsoft.com/office/powerpoint/2010/main" val="254447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12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l-GR" sz="340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470898"/>
          </a:xfrm>
        </p:spPr>
        <p:txBody>
          <a:bodyPr/>
          <a:lstStyle/>
          <a:p>
            <a:r>
              <a:rPr lang="el-GR" dirty="0">
                <a:solidFill>
                  <a:srgbClr val="9E9A00"/>
                </a:solidFill>
              </a:rPr>
              <a:t>Προσδιορισμός κινήτρων</a:t>
            </a:r>
            <a:r>
              <a:rPr lang="el-GR" dirty="0">
                <a:solidFill>
                  <a:srgbClr val="A8B21C"/>
                </a:solidFill>
              </a:rPr>
              <a:t>:</a:t>
            </a:r>
            <a:r>
              <a:rPr lang="el-GR" dirty="0"/>
              <a:t> Νέα προτεινόμενα όρια</a:t>
            </a:r>
            <a:endParaRPr lang="en-US" dirty="0"/>
          </a:p>
        </p:txBody>
      </p:sp>
      <p:sp>
        <p:nvSpPr>
          <p:cNvPr id="63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Πηγή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: </a:t>
            </a:r>
            <a:r>
              <a:rPr lang="el-GR" sz="10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Ανάλυση Ομάδας </a:t>
            </a:r>
            <a:r>
              <a:rPr lang="el-GR" sz="1000" dirty="0" err="1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ΣΔΑΜ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grpSp>
        <p:nvGrpSpPr>
          <p:cNvPr id="29" name="Group 7">
            <a:extLst>
              <a:ext uri="{FF2B5EF4-FFF2-40B4-BE49-F238E27FC236}">
                <a16:creationId xmlns:a16="http://schemas.microsoft.com/office/drawing/2014/main" id="{787C653B-F5CA-469C-8A66-3C2DCC5CB11B}"/>
              </a:ext>
            </a:extLst>
          </p:cNvPr>
          <p:cNvGrpSpPr/>
          <p:nvPr/>
        </p:nvGrpSpPr>
        <p:grpSpPr>
          <a:xfrm>
            <a:off x="5368669" y="1803192"/>
            <a:ext cx="306171" cy="4079081"/>
            <a:chOff x="5942914" y="2081213"/>
            <a:chExt cx="306171" cy="4079081"/>
          </a:xfrm>
        </p:grpSpPr>
        <p:cxnSp>
          <p:nvCxnSpPr>
            <p:cNvPr id="30" name="Straight Connector 8">
              <a:extLst>
                <a:ext uri="{FF2B5EF4-FFF2-40B4-BE49-F238E27FC236}">
                  <a16:creationId xmlns:a16="http://schemas.microsoft.com/office/drawing/2014/main" id="{BE71760A-39DD-426B-9FFD-B45767B4B2E0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" name="Group 9">
              <a:extLst>
                <a:ext uri="{FF2B5EF4-FFF2-40B4-BE49-F238E27FC236}">
                  <a16:creationId xmlns:a16="http://schemas.microsoft.com/office/drawing/2014/main" id="{73B54DC6-E30A-4C96-9611-4559938DA81D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32" name="Freeform 94">
                <a:extLst>
                  <a:ext uri="{FF2B5EF4-FFF2-40B4-BE49-F238E27FC236}">
                    <a16:creationId xmlns:a16="http://schemas.microsoft.com/office/drawing/2014/main" id="{D5E35F26-512A-4C9C-BF95-EF48D73338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33" name="Freeform 95">
                <a:extLst>
                  <a:ext uri="{FF2B5EF4-FFF2-40B4-BE49-F238E27FC236}">
                    <a16:creationId xmlns:a16="http://schemas.microsoft.com/office/drawing/2014/main" id="{952ED94E-338F-40D9-BF77-30DDF10C3E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5" name="Half Frame 4"/>
          <p:cNvSpPr/>
          <p:nvPr/>
        </p:nvSpPr>
        <p:spPr>
          <a:xfrm>
            <a:off x="1374233" y="3408582"/>
            <a:ext cx="3688233" cy="920026"/>
          </a:xfrm>
          <a:prstGeom prst="halfFrame">
            <a:avLst>
              <a:gd name="adj1" fmla="val 3631"/>
              <a:gd name="adj2" fmla="val 4123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ee4pHeader1"/>
          <p:cNvSpPr txBox="1"/>
          <p:nvPr/>
        </p:nvSpPr>
        <p:spPr>
          <a:xfrm>
            <a:off x="1363101" y="2705821"/>
            <a:ext cx="3710497" cy="64347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 algn="ctr"/>
            <a:r>
              <a:rPr lang="el-GR" sz="1500" b="1" dirty="0">
                <a:solidFill>
                  <a:schemeClr val="tx2"/>
                </a:solidFill>
              </a:rPr>
              <a:t>Υφιστάμενα όρια ενίσχυσης βάσει ΓΑΚ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421139" y="3387409"/>
            <a:ext cx="3796751" cy="18081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>
              <a:spcBef>
                <a:spcPts val="300"/>
              </a:spcBef>
              <a:spcAft>
                <a:spcPts val="300"/>
              </a:spcAft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Δυτική Μακεδονία: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25% για μεγάλ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35% για μεσαί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45% για μικρές επιχειρήσεις </a:t>
            </a:r>
          </a:p>
          <a:p>
            <a:pPr marL="0" lvl="1">
              <a:spcBef>
                <a:spcPts val="300"/>
              </a:spcBef>
              <a:spcAft>
                <a:spcPts val="300"/>
              </a:spcAft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Πελοπόννησος:</a:t>
            </a:r>
            <a:endParaRPr lang="el-GR" sz="13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35% για μεγάλ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45% για μεσαί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55% για μικρές επιχειρήσεις </a:t>
            </a:r>
          </a:p>
        </p:txBody>
      </p:sp>
      <p:sp>
        <p:nvSpPr>
          <p:cNvPr id="36" name="AutoShape 3">
            <a:extLst>
              <a:ext uri="{FF2B5EF4-FFF2-40B4-BE49-F238E27FC236}">
                <a16:creationId xmlns:a16="http://schemas.microsoft.com/office/drawing/2014/main" id="{E391DEB2-59B9-4E46-AD24-677915AE1F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335589" y="1829132"/>
            <a:ext cx="1765520" cy="1266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7" name="Group 31">
            <a:extLst>
              <a:ext uri="{FF2B5EF4-FFF2-40B4-BE49-F238E27FC236}">
                <a16:creationId xmlns:a16="http://schemas.microsoft.com/office/drawing/2014/main" id="{CA795E0A-0208-4E2B-8676-091E2C135A41}"/>
              </a:ext>
            </a:extLst>
          </p:cNvPr>
          <p:cNvGrpSpPr/>
          <p:nvPr/>
        </p:nvGrpSpPr>
        <p:grpSpPr>
          <a:xfrm>
            <a:off x="2869900" y="2114398"/>
            <a:ext cx="864960" cy="864000"/>
            <a:chOff x="4065203" y="2132357"/>
            <a:chExt cx="1297668" cy="1297668"/>
          </a:xfrm>
        </p:grpSpPr>
        <p:sp>
          <p:nvSpPr>
            <p:cNvPr id="64" name="Oval 32"/>
            <p:cNvSpPr/>
            <p:nvPr/>
          </p:nvSpPr>
          <p:spPr>
            <a:xfrm>
              <a:off x="4065203" y="2132357"/>
              <a:ext cx="1297668" cy="1297668"/>
            </a:xfrm>
            <a:prstGeom prst="ellipse">
              <a:avLst/>
            </a:prstGeom>
            <a:solidFill>
              <a:srgbClr val="FFFFFF"/>
            </a:solidFill>
            <a:ln w="762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algn="ctr">
                <a:lnSpc>
                  <a:spcPct val="90000"/>
                </a:lnSpc>
              </a:pPr>
              <a:endParaRPr lang="en-US" sz="2400" kern="0" dirty="0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8" name="AutoShape 7">
              <a:extLst>
                <a:ext uri="{FF2B5EF4-FFF2-40B4-BE49-F238E27FC236}">
                  <a16:creationId xmlns:a16="http://schemas.microsoft.com/office/drawing/2014/main" id="{2B48AA31-BFA3-4582-96AF-87685F90FF4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02266" y="2286675"/>
              <a:ext cx="1021198" cy="1021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9" name="Group 58">
            <a:extLst>
              <a:ext uri="{FF2B5EF4-FFF2-40B4-BE49-F238E27FC236}">
                <a16:creationId xmlns:a16="http://schemas.microsoft.com/office/drawing/2014/main" id="{2D93D97C-96A6-4CF0-A7A2-45D51B7FDCF4}"/>
              </a:ext>
            </a:extLst>
          </p:cNvPr>
          <p:cNvGrpSpPr>
            <a:grpSpLocks noChangeAspect="1"/>
          </p:cNvGrpSpPr>
          <p:nvPr/>
        </p:nvGrpSpPr>
        <p:grpSpPr>
          <a:xfrm>
            <a:off x="2960380" y="2205089"/>
            <a:ext cx="684000" cy="684000"/>
            <a:chOff x="5273675" y="2606675"/>
            <a:chExt cx="1644650" cy="1644650"/>
          </a:xfrm>
        </p:grpSpPr>
        <p:sp>
          <p:nvSpPr>
            <p:cNvPr id="70" name="AutoShape 3">
              <a:extLst>
                <a:ext uri="{FF2B5EF4-FFF2-40B4-BE49-F238E27FC236}">
                  <a16:creationId xmlns:a16="http://schemas.microsoft.com/office/drawing/2014/main" id="{499D1929-71DC-4E77-A4BC-6C809CA0A0C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6" name="Group 60">
              <a:extLst>
                <a:ext uri="{FF2B5EF4-FFF2-40B4-BE49-F238E27FC236}">
                  <a16:creationId xmlns:a16="http://schemas.microsoft.com/office/drawing/2014/main" id="{3ADD7A1B-5755-48E0-A621-5499045DBA56}"/>
                </a:ext>
              </a:extLst>
            </p:cNvPr>
            <p:cNvGrpSpPr/>
            <p:nvPr/>
          </p:nvGrpSpPr>
          <p:grpSpPr>
            <a:xfrm>
              <a:off x="5511800" y="2859088"/>
              <a:ext cx="1111250" cy="1139825"/>
              <a:chOff x="5511800" y="2859088"/>
              <a:chExt cx="1111250" cy="1139825"/>
            </a:xfrm>
          </p:grpSpPr>
          <p:sp>
            <p:nvSpPr>
              <p:cNvPr id="77" name="Freeform 52">
                <a:extLst>
                  <a:ext uri="{FF2B5EF4-FFF2-40B4-BE49-F238E27FC236}">
                    <a16:creationId xmlns:a16="http://schemas.microsoft.com/office/drawing/2014/main" id="{512A29AA-2FDA-4F8F-A2D9-CD5A33799C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5" y="2928938"/>
                <a:ext cx="436563" cy="1000125"/>
              </a:xfrm>
              <a:custGeom>
                <a:avLst/>
                <a:gdLst>
                  <a:gd name="connsiteX0" fmla="*/ 436563 w 436563"/>
                  <a:gd name="connsiteY0" fmla="*/ 579437 h 1000125"/>
                  <a:gd name="connsiteX1" fmla="*/ 436563 w 436563"/>
                  <a:gd name="connsiteY1" fmla="*/ 862277 h 1000125"/>
                  <a:gd name="connsiteX2" fmla="*/ 436563 w 436563"/>
                  <a:gd name="connsiteY2" fmla="*/ 929415 h 1000125"/>
                  <a:gd name="connsiteX3" fmla="*/ 433715 w 436563"/>
                  <a:gd name="connsiteY3" fmla="*/ 930844 h 1000125"/>
                  <a:gd name="connsiteX4" fmla="*/ 418047 w 436563"/>
                  <a:gd name="connsiteY4" fmla="*/ 928701 h 1000125"/>
                  <a:gd name="connsiteX5" fmla="*/ 367482 w 436563"/>
                  <a:gd name="connsiteY5" fmla="*/ 980126 h 1000125"/>
                  <a:gd name="connsiteX6" fmla="*/ 370331 w 436563"/>
                  <a:gd name="connsiteY6" fmla="*/ 997268 h 1000125"/>
                  <a:gd name="connsiteX7" fmla="*/ 368194 w 436563"/>
                  <a:gd name="connsiteY7" fmla="*/ 1000125 h 1000125"/>
                  <a:gd name="connsiteX8" fmla="*/ 66945 w 436563"/>
                  <a:gd name="connsiteY8" fmla="*/ 1000125 h 1000125"/>
                  <a:gd name="connsiteX9" fmla="*/ 64808 w 436563"/>
                  <a:gd name="connsiteY9" fmla="*/ 997268 h 1000125"/>
                  <a:gd name="connsiteX10" fmla="*/ 68369 w 436563"/>
                  <a:gd name="connsiteY10" fmla="*/ 980126 h 1000125"/>
                  <a:gd name="connsiteX11" fmla="*/ 17092 w 436563"/>
                  <a:gd name="connsiteY11" fmla="*/ 928701 h 1000125"/>
                  <a:gd name="connsiteX12" fmla="*/ 2137 w 436563"/>
                  <a:gd name="connsiteY12" fmla="*/ 930844 h 1000125"/>
                  <a:gd name="connsiteX13" fmla="*/ 0 w 436563"/>
                  <a:gd name="connsiteY13" fmla="*/ 928701 h 1000125"/>
                  <a:gd name="connsiteX14" fmla="*/ 0 w 436563"/>
                  <a:gd name="connsiteY14" fmla="*/ 862277 h 1000125"/>
                  <a:gd name="connsiteX15" fmla="*/ 0 w 436563"/>
                  <a:gd name="connsiteY15" fmla="*/ 762283 h 1000125"/>
                  <a:gd name="connsiteX16" fmla="*/ 121070 w 436563"/>
                  <a:gd name="connsiteY16" fmla="*/ 827279 h 1000125"/>
                  <a:gd name="connsiteX17" fmla="*/ 194424 w 436563"/>
                  <a:gd name="connsiteY17" fmla="*/ 846563 h 1000125"/>
                  <a:gd name="connsiteX18" fmla="*/ 292704 w 436563"/>
                  <a:gd name="connsiteY18" fmla="*/ 802280 h 1000125"/>
                  <a:gd name="connsiteX19" fmla="*/ 324752 w 436563"/>
                  <a:gd name="connsiteY19" fmla="*/ 763711 h 1000125"/>
                  <a:gd name="connsiteX20" fmla="*/ 330449 w 436563"/>
                  <a:gd name="connsiteY20" fmla="*/ 752283 h 1000125"/>
                  <a:gd name="connsiteX21" fmla="*/ 319767 w 436563"/>
                  <a:gd name="connsiteY21" fmla="*/ 730142 h 1000125"/>
                  <a:gd name="connsiteX22" fmla="*/ 212228 w 436563"/>
                  <a:gd name="connsiteY22" fmla="*/ 666575 h 1000125"/>
                  <a:gd name="connsiteX23" fmla="*/ 217926 w 436563"/>
                  <a:gd name="connsiteY23" fmla="*/ 666575 h 1000125"/>
                  <a:gd name="connsiteX24" fmla="*/ 436563 w 436563"/>
                  <a:gd name="connsiteY24" fmla="*/ 579437 h 1000125"/>
                  <a:gd name="connsiteX25" fmla="*/ 67657 w 436563"/>
                  <a:gd name="connsiteY25" fmla="*/ 0 h 1000125"/>
                  <a:gd name="connsiteX26" fmla="*/ 367482 w 436563"/>
                  <a:gd name="connsiteY26" fmla="*/ 0 h 1000125"/>
                  <a:gd name="connsiteX27" fmla="*/ 369619 w 436563"/>
                  <a:gd name="connsiteY27" fmla="*/ 3571 h 1000125"/>
                  <a:gd name="connsiteX28" fmla="*/ 367482 w 436563"/>
                  <a:gd name="connsiteY28" fmla="*/ 19285 h 1000125"/>
                  <a:gd name="connsiteX29" fmla="*/ 418047 w 436563"/>
                  <a:gd name="connsiteY29" fmla="*/ 70710 h 1000125"/>
                  <a:gd name="connsiteX30" fmla="*/ 433715 w 436563"/>
                  <a:gd name="connsiteY30" fmla="*/ 68567 h 1000125"/>
                  <a:gd name="connsiteX31" fmla="*/ 435139 w 436563"/>
                  <a:gd name="connsiteY31" fmla="*/ 68567 h 1000125"/>
                  <a:gd name="connsiteX32" fmla="*/ 435851 w 436563"/>
                  <a:gd name="connsiteY32" fmla="*/ 68567 h 1000125"/>
                  <a:gd name="connsiteX33" fmla="*/ 436563 w 436563"/>
                  <a:gd name="connsiteY33" fmla="*/ 69282 h 1000125"/>
                  <a:gd name="connsiteX34" fmla="*/ 436563 w 436563"/>
                  <a:gd name="connsiteY34" fmla="*/ 69996 h 1000125"/>
                  <a:gd name="connsiteX35" fmla="*/ 436563 w 436563"/>
                  <a:gd name="connsiteY35" fmla="*/ 325694 h 1000125"/>
                  <a:gd name="connsiteX36" fmla="*/ 436563 w 436563"/>
                  <a:gd name="connsiteY36" fmla="*/ 420688 h 1000125"/>
                  <a:gd name="connsiteX37" fmla="*/ 229320 w 436563"/>
                  <a:gd name="connsiteY37" fmla="*/ 333551 h 1000125"/>
                  <a:gd name="connsiteX38" fmla="*/ 217926 w 436563"/>
                  <a:gd name="connsiteY38" fmla="*/ 333551 h 1000125"/>
                  <a:gd name="connsiteX39" fmla="*/ 96144 w 436563"/>
                  <a:gd name="connsiteY39" fmla="*/ 354978 h 1000125"/>
                  <a:gd name="connsiteX40" fmla="*/ 19229 w 436563"/>
                  <a:gd name="connsiteY40" fmla="*/ 399975 h 1000125"/>
                  <a:gd name="connsiteX41" fmla="*/ 0 w 436563"/>
                  <a:gd name="connsiteY41" fmla="*/ 420688 h 1000125"/>
                  <a:gd name="connsiteX42" fmla="*/ 0 w 436563"/>
                  <a:gd name="connsiteY42" fmla="*/ 411403 h 1000125"/>
                  <a:gd name="connsiteX43" fmla="*/ 0 w 436563"/>
                  <a:gd name="connsiteY43" fmla="*/ 393547 h 1000125"/>
                  <a:gd name="connsiteX44" fmla="*/ 0 w 436563"/>
                  <a:gd name="connsiteY44" fmla="*/ 374977 h 1000125"/>
                  <a:gd name="connsiteX45" fmla="*/ 0 w 436563"/>
                  <a:gd name="connsiteY45" fmla="*/ 339979 h 1000125"/>
                  <a:gd name="connsiteX46" fmla="*/ 0 w 436563"/>
                  <a:gd name="connsiteY46" fmla="*/ 325694 h 1000125"/>
                  <a:gd name="connsiteX47" fmla="*/ 0 w 436563"/>
                  <a:gd name="connsiteY47" fmla="*/ 322123 h 1000125"/>
                  <a:gd name="connsiteX48" fmla="*/ 0 w 436563"/>
                  <a:gd name="connsiteY48" fmla="*/ 304267 h 1000125"/>
                  <a:gd name="connsiteX49" fmla="*/ 0 w 436563"/>
                  <a:gd name="connsiteY49" fmla="*/ 249270 h 1000125"/>
                  <a:gd name="connsiteX50" fmla="*/ 0 w 436563"/>
                  <a:gd name="connsiteY50" fmla="*/ 70710 h 1000125"/>
                  <a:gd name="connsiteX51" fmla="*/ 2137 w 436563"/>
                  <a:gd name="connsiteY51" fmla="*/ 68567 h 1000125"/>
                  <a:gd name="connsiteX52" fmla="*/ 17092 w 436563"/>
                  <a:gd name="connsiteY52" fmla="*/ 70710 h 1000125"/>
                  <a:gd name="connsiteX53" fmla="*/ 68369 w 436563"/>
                  <a:gd name="connsiteY53" fmla="*/ 19285 h 1000125"/>
                  <a:gd name="connsiteX54" fmla="*/ 65520 w 436563"/>
                  <a:gd name="connsiteY54" fmla="*/ 3571 h 1000125"/>
                  <a:gd name="connsiteX55" fmla="*/ 67657 w 436563"/>
                  <a:gd name="connsiteY55" fmla="*/ 0 h 1000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436563" h="1000125">
                    <a:moveTo>
                      <a:pt x="436563" y="579437"/>
                    </a:moveTo>
                    <a:cubicBezTo>
                      <a:pt x="436563" y="579437"/>
                      <a:pt x="436563" y="579437"/>
                      <a:pt x="436563" y="862277"/>
                    </a:cubicBezTo>
                    <a:cubicBezTo>
                      <a:pt x="436563" y="882990"/>
                      <a:pt x="436563" y="905131"/>
                      <a:pt x="436563" y="929415"/>
                    </a:cubicBezTo>
                    <a:cubicBezTo>
                      <a:pt x="436563" y="930844"/>
                      <a:pt x="435851" y="931558"/>
                      <a:pt x="433715" y="930844"/>
                    </a:cubicBezTo>
                    <a:cubicBezTo>
                      <a:pt x="428729" y="929415"/>
                      <a:pt x="423744" y="928701"/>
                      <a:pt x="418047" y="928701"/>
                    </a:cubicBezTo>
                    <a:cubicBezTo>
                      <a:pt x="389560" y="928701"/>
                      <a:pt x="367482" y="951557"/>
                      <a:pt x="367482" y="980126"/>
                    </a:cubicBezTo>
                    <a:cubicBezTo>
                      <a:pt x="367482" y="985840"/>
                      <a:pt x="368194" y="992268"/>
                      <a:pt x="370331" y="997268"/>
                    </a:cubicBezTo>
                    <a:cubicBezTo>
                      <a:pt x="371043" y="998697"/>
                      <a:pt x="369619" y="1000125"/>
                      <a:pt x="368194" y="1000125"/>
                    </a:cubicBezTo>
                    <a:cubicBezTo>
                      <a:pt x="368194" y="1000125"/>
                      <a:pt x="368194" y="1000125"/>
                      <a:pt x="66945" y="1000125"/>
                    </a:cubicBezTo>
                    <a:cubicBezTo>
                      <a:pt x="65520" y="1000125"/>
                      <a:pt x="64096" y="998697"/>
                      <a:pt x="64808" y="997268"/>
                    </a:cubicBezTo>
                    <a:cubicBezTo>
                      <a:pt x="66945" y="992268"/>
                      <a:pt x="68369" y="985840"/>
                      <a:pt x="68369" y="980126"/>
                    </a:cubicBezTo>
                    <a:cubicBezTo>
                      <a:pt x="68369" y="951557"/>
                      <a:pt x="45579" y="928701"/>
                      <a:pt x="17092" y="928701"/>
                    </a:cubicBezTo>
                    <a:cubicBezTo>
                      <a:pt x="12107" y="928701"/>
                      <a:pt x="7122" y="929415"/>
                      <a:pt x="2137" y="930844"/>
                    </a:cubicBezTo>
                    <a:cubicBezTo>
                      <a:pt x="1425" y="930844"/>
                      <a:pt x="0" y="930130"/>
                      <a:pt x="0" y="928701"/>
                    </a:cubicBezTo>
                    <a:cubicBezTo>
                      <a:pt x="0" y="928701"/>
                      <a:pt x="0" y="928701"/>
                      <a:pt x="0" y="862277"/>
                    </a:cubicBezTo>
                    <a:cubicBezTo>
                      <a:pt x="0" y="862277"/>
                      <a:pt x="0" y="862277"/>
                      <a:pt x="0" y="762283"/>
                    </a:cubicBezTo>
                    <a:cubicBezTo>
                      <a:pt x="58399" y="793709"/>
                      <a:pt x="105402" y="817994"/>
                      <a:pt x="121070" y="827279"/>
                    </a:cubicBezTo>
                    <a:cubicBezTo>
                      <a:pt x="145284" y="840135"/>
                      <a:pt x="169498" y="846563"/>
                      <a:pt x="194424" y="846563"/>
                    </a:cubicBezTo>
                    <a:cubicBezTo>
                      <a:pt x="239291" y="846563"/>
                      <a:pt x="274900" y="823708"/>
                      <a:pt x="292704" y="802280"/>
                    </a:cubicBezTo>
                    <a:cubicBezTo>
                      <a:pt x="292704" y="802280"/>
                      <a:pt x="292704" y="802280"/>
                      <a:pt x="324752" y="763711"/>
                    </a:cubicBezTo>
                    <a:cubicBezTo>
                      <a:pt x="327601" y="760854"/>
                      <a:pt x="329737" y="757283"/>
                      <a:pt x="330449" y="752283"/>
                    </a:cubicBezTo>
                    <a:cubicBezTo>
                      <a:pt x="331874" y="742998"/>
                      <a:pt x="327601" y="734427"/>
                      <a:pt x="319767" y="730142"/>
                    </a:cubicBezTo>
                    <a:cubicBezTo>
                      <a:pt x="319767" y="730142"/>
                      <a:pt x="319767" y="730142"/>
                      <a:pt x="212228" y="666575"/>
                    </a:cubicBezTo>
                    <a:cubicBezTo>
                      <a:pt x="214365" y="666575"/>
                      <a:pt x="215789" y="666575"/>
                      <a:pt x="217926" y="666575"/>
                    </a:cubicBezTo>
                    <a:cubicBezTo>
                      <a:pt x="312645" y="666575"/>
                      <a:pt x="394545" y="631577"/>
                      <a:pt x="436563" y="579437"/>
                    </a:cubicBezTo>
                    <a:close/>
                    <a:moveTo>
                      <a:pt x="67657" y="0"/>
                    </a:moveTo>
                    <a:cubicBezTo>
                      <a:pt x="67657" y="0"/>
                      <a:pt x="67657" y="0"/>
                      <a:pt x="367482" y="0"/>
                    </a:cubicBezTo>
                    <a:cubicBezTo>
                      <a:pt x="369619" y="0"/>
                      <a:pt x="370331" y="1429"/>
                      <a:pt x="369619" y="3571"/>
                    </a:cubicBezTo>
                    <a:cubicBezTo>
                      <a:pt x="368194" y="7857"/>
                      <a:pt x="367482" y="13571"/>
                      <a:pt x="367482" y="19285"/>
                    </a:cubicBezTo>
                    <a:cubicBezTo>
                      <a:pt x="367482" y="47854"/>
                      <a:pt x="389560" y="70710"/>
                      <a:pt x="418047" y="70710"/>
                    </a:cubicBezTo>
                    <a:cubicBezTo>
                      <a:pt x="423744" y="70710"/>
                      <a:pt x="428729" y="69996"/>
                      <a:pt x="433715" y="68567"/>
                    </a:cubicBezTo>
                    <a:cubicBezTo>
                      <a:pt x="434427" y="68567"/>
                      <a:pt x="434427" y="68567"/>
                      <a:pt x="435139" y="68567"/>
                    </a:cubicBezTo>
                    <a:cubicBezTo>
                      <a:pt x="435851" y="68567"/>
                      <a:pt x="435851" y="68567"/>
                      <a:pt x="435851" y="68567"/>
                    </a:cubicBezTo>
                    <a:cubicBezTo>
                      <a:pt x="435851" y="68567"/>
                      <a:pt x="436563" y="68567"/>
                      <a:pt x="436563" y="69282"/>
                    </a:cubicBezTo>
                    <a:cubicBezTo>
                      <a:pt x="436563" y="69996"/>
                      <a:pt x="436563" y="69996"/>
                      <a:pt x="436563" y="69996"/>
                    </a:cubicBezTo>
                    <a:cubicBezTo>
                      <a:pt x="436563" y="69996"/>
                      <a:pt x="436563" y="69996"/>
                      <a:pt x="436563" y="325694"/>
                    </a:cubicBezTo>
                    <a:cubicBezTo>
                      <a:pt x="436563" y="354264"/>
                      <a:pt x="436563" y="385690"/>
                      <a:pt x="436563" y="420688"/>
                    </a:cubicBezTo>
                    <a:cubicBezTo>
                      <a:pt x="395969" y="370691"/>
                      <a:pt x="319054" y="336408"/>
                      <a:pt x="229320" y="333551"/>
                    </a:cubicBezTo>
                    <a:cubicBezTo>
                      <a:pt x="225760" y="333551"/>
                      <a:pt x="222199" y="333551"/>
                      <a:pt x="217926" y="333551"/>
                    </a:cubicBezTo>
                    <a:cubicBezTo>
                      <a:pt x="173771" y="333551"/>
                      <a:pt x="132465" y="341407"/>
                      <a:pt x="96144" y="354978"/>
                    </a:cubicBezTo>
                    <a:cubicBezTo>
                      <a:pt x="66232" y="366406"/>
                      <a:pt x="39882" y="381405"/>
                      <a:pt x="19229" y="399975"/>
                    </a:cubicBezTo>
                    <a:cubicBezTo>
                      <a:pt x="12107" y="406403"/>
                      <a:pt x="5698" y="413546"/>
                      <a:pt x="0" y="420688"/>
                    </a:cubicBezTo>
                    <a:cubicBezTo>
                      <a:pt x="0" y="417831"/>
                      <a:pt x="0" y="414974"/>
                      <a:pt x="0" y="411403"/>
                    </a:cubicBezTo>
                    <a:cubicBezTo>
                      <a:pt x="0" y="406403"/>
                      <a:pt x="0" y="400689"/>
                      <a:pt x="0" y="393547"/>
                    </a:cubicBezTo>
                    <a:cubicBezTo>
                      <a:pt x="0" y="387833"/>
                      <a:pt x="0" y="382119"/>
                      <a:pt x="0" y="374977"/>
                    </a:cubicBezTo>
                    <a:cubicBezTo>
                      <a:pt x="0" y="364977"/>
                      <a:pt x="0" y="353549"/>
                      <a:pt x="0" y="339979"/>
                    </a:cubicBezTo>
                    <a:cubicBezTo>
                      <a:pt x="0" y="335693"/>
                      <a:pt x="0" y="330694"/>
                      <a:pt x="0" y="325694"/>
                    </a:cubicBezTo>
                    <a:cubicBezTo>
                      <a:pt x="0" y="324266"/>
                      <a:pt x="0" y="323551"/>
                      <a:pt x="0" y="322123"/>
                    </a:cubicBezTo>
                    <a:cubicBezTo>
                      <a:pt x="0" y="316409"/>
                      <a:pt x="0" y="310695"/>
                      <a:pt x="0" y="304267"/>
                    </a:cubicBezTo>
                    <a:cubicBezTo>
                      <a:pt x="0" y="287839"/>
                      <a:pt x="0" y="269983"/>
                      <a:pt x="0" y="249270"/>
                    </a:cubicBezTo>
                    <a:cubicBezTo>
                      <a:pt x="0" y="202130"/>
                      <a:pt x="0" y="143563"/>
                      <a:pt x="0" y="70710"/>
                    </a:cubicBezTo>
                    <a:cubicBezTo>
                      <a:pt x="0" y="69282"/>
                      <a:pt x="1425" y="68567"/>
                      <a:pt x="2137" y="68567"/>
                    </a:cubicBezTo>
                    <a:cubicBezTo>
                      <a:pt x="7122" y="69996"/>
                      <a:pt x="12107" y="70710"/>
                      <a:pt x="17092" y="70710"/>
                    </a:cubicBezTo>
                    <a:cubicBezTo>
                      <a:pt x="45579" y="70710"/>
                      <a:pt x="68369" y="47854"/>
                      <a:pt x="68369" y="19285"/>
                    </a:cubicBezTo>
                    <a:cubicBezTo>
                      <a:pt x="68369" y="13571"/>
                      <a:pt x="66945" y="7857"/>
                      <a:pt x="65520" y="3571"/>
                    </a:cubicBezTo>
                    <a:cubicBezTo>
                      <a:pt x="64808" y="1429"/>
                      <a:pt x="66232" y="0"/>
                      <a:pt x="67657" y="0"/>
                    </a:cubicBezTo>
                    <a:close/>
                  </a:path>
                </a:pathLst>
              </a:custGeom>
              <a:solidFill>
                <a:schemeClr val="tx2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78" name="Freeform 53">
                <a:extLst>
                  <a:ext uri="{FF2B5EF4-FFF2-40B4-BE49-F238E27FC236}">
                    <a16:creationId xmlns:a16="http://schemas.microsoft.com/office/drawing/2014/main" id="{583C33D1-29BD-45D8-919A-31A4802A03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1800" y="2859088"/>
                <a:ext cx="1111250" cy="1139825"/>
              </a:xfrm>
              <a:custGeom>
                <a:avLst/>
                <a:gdLst>
                  <a:gd name="connsiteX0" fmla="*/ 131325 w 1111250"/>
                  <a:gd name="connsiteY0" fmla="*/ 673100 h 1139825"/>
                  <a:gd name="connsiteX1" fmla="*/ 31750 w 1111250"/>
                  <a:gd name="connsiteY1" fmla="*/ 772319 h 1139825"/>
                  <a:gd name="connsiteX2" fmla="*/ 131325 w 1111250"/>
                  <a:gd name="connsiteY2" fmla="*/ 871538 h 1139825"/>
                  <a:gd name="connsiteX3" fmla="*/ 216675 w 1111250"/>
                  <a:gd name="connsiteY3" fmla="*/ 821572 h 1139825"/>
                  <a:gd name="connsiteX4" fmla="*/ 229477 w 1111250"/>
                  <a:gd name="connsiteY4" fmla="*/ 783026 h 1139825"/>
                  <a:gd name="connsiteX5" fmla="*/ 230188 w 1111250"/>
                  <a:gd name="connsiteY5" fmla="*/ 772319 h 1139825"/>
                  <a:gd name="connsiteX6" fmla="*/ 190358 w 1111250"/>
                  <a:gd name="connsiteY6" fmla="*/ 693087 h 1139825"/>
                  <a:gd name="connsiteX7" fmla="*/ 156930 w 1111250"/>
                  <a:gd name="connsiteY7" fmla="*/ 675955 h 1139825"/>
                  <a:gd name="connsiteX8" fmla="*/ 131325 w 1111250"/>
                  <a:gd name="connsiteY8" fmla="*/ 673100 h 1139825"/>
                  <a:gd name="connsiteX9" fmla="*/ 498232 w 1111250"/>
                  <a:gd name="connsiteY9" fmla="*/ 604837 h 1139825"/>
                  <a:gd name="connsiteX10" fmla="*/ 548910 w 1111250"/>
                  <a:gd name="connsiteY10" fmla="*/ 634832 h 1139825"/>
                  <a:gd name="connsiteX11" fmla="*/ 580316 w 1111250"/>
                  <a:gd name="connsiteY11" fmla="*/ 653400 h 1139825"/>
                  <a:gd name="connsiteX12" fmla="*/ 611723 w 1111250"/>
                  <a:gd name="connsiteY12" fmla="*/ 671254 h 1139825"/>
                  <a:gd name="connsiteX13" fmla="*/ 863687 w 1111250"/>
                  <a:gd name="connsiteY13" fmla="*/ 818371 h 1139825"/>
                  <a:gd name="connsiteX14" fmla="*/ 870824 w 1111250"/>
                  <a:gd name="connsiteY14" fmla="*/ 828369 h 1139825"/>
                  <a:gd name="connsiteX15" fmla="*/ 867256 w 1111250"/>
                  <a:gd name="connsiteY15" fmla="*/ 841224 h 1139825"/>
                  <a:gd name="connsiteX16" fmla="*/ 806584 w 1111250"/>
                  <a:gd name="connsiteY16" fmla="*/ 868362 h 1139825"/>
                  <a:gd name="connsiteX17" fmla="*/ 756620 w 1111250"/>
                  <a:gd name="connsiteY17" fmla="*/ 854079 h 1139825"/>
                  <a:gd name="connsiteX18" fmla="*/ 611723 w 1111250"/>
                  <a:gd name="connsiteY18" fmla="*/ 777664 h 1139825"/>
                  <a:gd name="connsiteX19" fmla="*/ 580316 w 1111250"/>
                  <a:gd name="connsiteY19" fmla="*/ 761238 h 1139825"/>
                  <a:gd name="connsiteX20" fmla="*/ 548910 w 1111250"/>
                  <a:gd name="connsiteY20" fmla="*/ 744812 h 1139825"/>
                  <a:gd name="connsiteX21" fmla="*/ 396875 w 1111250"/>
                  <a:gd name="connsiteY21" fmla="*/ 664827 h 1139825"/>
                  <a:gd name="connsiteX22" fmla="*/ 413292 w 1111250"/>
                  <a:gd name="connsiteY22" fmla="*/ 654828 h 1139825"/>
                  <a:gd name="connsiteX23" fmla="*/ 428995 w 1111250"/>
                  <a:gd name="connsiteY23" fmla="*/ 645544 h 1139825"/>
                  <a:gd name="connsiteX24" fmla="*/ 466826 w 1111250"/>
                  <a:gd name="connsiteY24" fmla="*/ 623405 h 1139825"/>
                  <a:gd name="connsiteX25" fmla="*/ 482529 w 1111250"/>
                  <a:gd name="connsiteY25" fmla="*/ 614121 h 1139825"/>
                  <a:gd name="connsiteX26" fmla="*/ 498232 w 1111250"/>
                  <a:gd name="connsiteY26" fmla="*/ 604837 h 1139825"/>
                  <a:gd name="connsiteX27" fmla="*/ 130969 w 1111250"/>
                  <a:gd name="connsiteY27" fmla="*/ 279400 h 1139825"/>
                  <a:gd name="connsiteX28" fmla="*/ 31750 w 1111250"/>
                  <a:gd name="connsiteY28" fmla="*/ 377905 h 1139825"/>
                  <a:gd name="connsiteX29" fmla="*/ 130969 w 1111250"/>
                  <a:gd name="connsiteY29" fmla="*/ 477838 h 1139825"/>
                  <a:gd name="connsiteX30" fmla="*/ 156666 w 1111250"/>
                  <a:gd name="connsiteY30" fmla="*/ 474269 h 1139825"/>
                  <a:gd name="connsiteX31" fmla="*/ 190215 w 1111250"/>
                  <a:gd name="connsiteY31" fmla="*/ 457852 h 1139825"/>
                  <a:gd name="connsiteX32" fmla="*/ 230188 w 1111250"/>
                  <a:gd name="connsiteY32" fmla="*/ 377905 h 1139825"/>
                  <a:gd name="connsiteX33" fmla="*/ 229474 w 1111250"/>
                  <a:gd name="connsiteY33" fmla="*/ 367912 h 1139825"/>
                  <a:gd name="connsiteX34" fmla="*/ 216626 w 1111250"/>
                  <a:gd name="connsiteY34" fmla="*/ 328653 h 1139825"/>
                  <a:gd name="connsiteX35" fmla="*/ 130969 w 1111250"/>
                  <a:gd name="connsiteY35" fmla="*/ 279400 h 1139825"/>
                  <a:gd name="connsiteX36" fmla="*/ 130765 w 1111250"/>
                  <a:gd name="connsiteY36" fmla="*/ 247650 h 1139825"/>
                  <a:gd name="connsiteX37" fmla="*/ 246523 w 1111250"/>
                  <a:gd name="connsiteY37" fmla="*/ 317602 h 1139825"/>
                  <a:gd name="connsiteX38" fmla="*/ 255098 w 1111250"/>
                  <a:gd name="connsiteY38" fmla="*/ 336874 h 1139825"/>
                  <a:gd name="connsiteX39" fmla="*/ 307975 w 1111250"/>
                  <a:gd name="connsiteY39" fmla="*/ 478205 h 1139825"/>
                  <a:gd name="connsiteX40" fmla="*/ 293684 w 1111250"/>
                  <a:gd name="connsiteY40" fmla="*/ 486056 h 1139825"/>
                  <a:gd name="connsiteX41" fmla="*/ 280107 w 1111250"/>
                  <a:gd name="connsiteY41" fmla="*/ 493194 h 1139825"/>
                  <a:gd name="connsiteX42" fmla="*/ 232947 w 1111250"/>
                  <a:gd name="connsiteY42" fmla="*/ 517463 h 1139825"/>
                  <a:gd name="connsiteX43" fmla="*/ 232232 w 1111250"/>
                  <a:gd name="connsiteY43" fmla="*/ 517463 h 1139825"/>
                  <a:gd name="connsiteX44" fmla="*/ 225801 w 1111250"/>
                  <a:gd name="connsiteY44" fmla="*/ 521032 h 1139825"/>
                  <a:gd name="connsiteX45" fmla="*/ 219370 w 1111250"/>
                  <a:gd name="connsiteY45" fmla="*/ 526029 h 1139825"/>
                  <a:gd name="connsiteX46" fmla="*/ 208652 w 1111250"/>
                  <a:gd name="connsiteY46" fmla="*/ 538163 h 1139825"/>
                  <a:gd name="connsiteX47" fmla="*/ 175067 w 1111250"/>
                  <a:gd name="connsiteY47" fmla="*/ 501046 h 1139825"/>
                  <a:gd name="connsiteX48" fmla="*/ 130765 w 1111250"/>
                  <a:gd name="connsiteY48" fmla="*/ 508184 h 1139825"/>
                  <a:gd name="connsiteX49" fmla="*/ 125763 w 1111250"/>
                  <a:gd name="connsiteY49" fmla="*/ 507470 h 1139825"/>
                  <a:gd name="connsiteX50" fmla="*/ 0 w 1111250"/>
                  <a:gd name="connsiteY50" fmla="*/ 377560 h 1139825"/>
                  <a:gd name="connsiteX51" fmla="*/ 130765 w 1111250"/>
                  <a:gd name="connsiteY51" fmla="*/ 247650 h 1139825"/>
                  <a:gd name="connsiteX52" fmla="*/ 564547 w 1111250"/>
                  <a:gd name="connsiteY52" fmla="*/ 0 h 1139825"/>
                  <a:gd name="connsiteX53" fmla="*/ 1095549 w 1111250"/>
                  <a:gd name="connsiteY53" fmla="*/ 0 h 1139825"/>
                  <a:gd name="connsiteX54" fmla="*/ 1111250 w 1111250"/>
                  <a:gd name="connsiteY54" fmla="*/ 15692 h 1139825"/>
                  <a:gd name="connsiteX55" fmla="*/ 1111250 w 1111250"/>
                  <a:gd name="connsiteY55" fmla="*/ 1124133 h 1139825"/>
                  <a:gd name="connsiteX56" fmla="*/ 1095549 w 1111250"/>
                  <a:gd name="connsiteY56" fmla="*/ 1139825 h 1139825"/>
                  <a:gd name="connsiteX57" fmla="*/ 564547 w 1111250"/>
                  <a:gd name="connsiteY57" fmla="*/ 1139825 h 1139825"/>
                  <a:gd name="connsiteX58" fmla="*/ 548845 w 1111250"/>
                  <a:gd name="connsiteY58" fmla="*/ 1124133 h 1139825"/>
                  <a:gd name="connsiteX59" fmla="*/ 548845 w 1111250"/>
                  <a:gd name="connsiteY59" fmla="*/ 798876 h 1139825"/>
                  <a:gd name="connsiteX60" fmla="*/ 580248 w 1111250"/>
                  <a:gd name="connsiteY60" fmla="*/ 815995 h 1139825"/>
                  <a:gd name="connsiteX61" fmla="*/ 580248 w 1111250"/>
                  <a:gd name="connsiteY61" fmla="*/ 1108441 h 1139825"/>
                  <a:gd name="connsiteX62" fmla="*/ 1079847 w 1111250"/>
                  <a:gd name="connsiteY62" fmla="*/ 1108441 h 1139825"/>
                  <a:gd name="connsiteX63" fmla="*/ 1079847 w 1111250"/>
                  <a:gd name="connsiteY63" fmla="*/ 538528 h 1139825"/>
                  <a:gd name="connsiteX64" fmla="*/ 1080561 w 1111250"/>
                  <a:gd name="connsiteY64" fmla="*/ 538528 h 1139825"/>
                  <a:gd name="connsiteX65" fmla="*/ 1080561 w 1111250"/>
                  <a:gd name="connsiteY65" fmla="*/ 507144 h 1139825"/>
                  <a:gd name="connsiteX66" fmla="*/ 1080561 w 1111250"/>
                  <a:gd name="connsiteY66" fmla="*/ 394445 h 1139825"/>
                  <a:gd name="connsiteX67" fmla="*/ 1080561 w 1111250"/>
                  <a:gd name="connsiteY67" fmla="*/ 139803 h 1139825"/>
                  <a:gd name="connsiteX68" fmla="*/ 1079847 w 1111250"/>
                  <a:gd name="connsiteY68" fmla="*/ 134810 h 1139825"/>
                  <a:gd name="connsiteX69" fmla="*/ 1079847 w 1111250"/>
                  <a:gd name="connsiteY69" fmla="*/ 31385 h 1139825"/>
                  <a:gd name="connsiteX70" fmla="*/ 580248 w 1111250"/>
                  <a:gd name="connsiteY70" fmla="*/ 31385 h 1139825"/>
                  <a:gd name="connsiteX71" fmla="*/ 580248 w 1111250"/>
                  <a:gd name="connsiteY71" fmla="*/ 135524 h 1139825"/>
                  <a:gd name="connsiteX72" fmla="*/ 580248 w 1111250"/>
                  <a:gd name="connsiteY72" fmla="*/ 334530 h 1139825"/>
                  <a:gd name="connsiteX73" fmla="*/ 580248 w 1111250"/>
                  <a:gd name="connsiteY73" fmla="*/ 389452 h 1139825"/>
                  <a:gd name="connsiteX74" fmla="*/ 580248 w 1111250"/>
                  <a:gd name="connsiteY74" fmla="*/ 407284 h 1139825"/>
                  <a:gd name="connsiteX75" fmla="*/ 580248 w 1111250"/>
                  <a:gd name="connsiteY75" fmla="*/ 425116 h 1139825"/>
                  <a:gd name="connsiteX76" fmla="*/ 580248 w 1111250"/>
                  <a:gd name="connsiteY76" fmla="*/ 462207 h 1139825"/>
                  <a:gd name="connsiteX77" fmla="*/ 580248 w 1111250"/>
                  <a:gd name="connsiteY77" fmla="*/ 480039 h 1139825"/>
                  <a:gd name="connsiteX78" fmla="*/ 580248 w 1111250"/>
                  <a:gd name="connsiteY78" fmla="*/ 498584 h 1139825"/>
                  <a:gd name="connsiteX79" fmla="*/ 580248 w 1111250"/>
                  <a:gd name="connsiteY79" fmla="*/ 538528 h 1139825"/>
                  <a:gd name="connsiteX80" fmla="*/ 580248 w 1111250"/>
                  <a:gd name="connsiteY80" fmla="*/ 554934 h 1139825"/>
                  <a:gd name="connsiteX81" fmla="*/ 580248 w 1111250"/>
                  <a:gd name="connsiteY81" fmla="*/ 575619 h 1139825"/>
                  <a:gd name="connsiteX82" fmla="*/ 580248 w 1111250"/>
                  <a:gd name="connsiteY82" fmla="*/ 594878 h 1139825"/>
                  <a:gd name="connsiteX83" fmla="*/ 548845 w 1111250"/>
                  <a:gd name="connsiteY83" fmla="*/ 576332 h 1139825"/>
                  <a:gd name="connsiteX84" fmla="*/ 548845 w 1111250"/>
                  <a:gd name="connsiteY84" fmla="*/ 575619 h 1139825"/>
                  <a:gd name="connsiteX85" fmla="*/ 548845 w 1111250"/>
                  <a:gd name="connsiteY85" fmla="*/ 573479 h 1139825"/>
                  <a:gd name="connsiteX86" fmla="*/ 548845 w 1111250"/>
                  <a:gd name="connsiteY86" fmla="*/ 517130 h 1139825"/>
                  <a:gd name="connsiteX87" fmla="*/ 498171 w 1111250"/>
                  <a:gd name="connsiteY87" fmla="*/ 546374 h 1139825"/>
                  <a:gd name="connsiteX88" fmla="*/ 449639 w 1111250"/>
                  <a:gd name="connsiteY88" fmla="*/ 574906 h 1139825"/>
                  <a:gd name="connsiteX89" fmla="*/ 433937 w 1111250"/>
                  <a:gd name="connsiteY89" fmla="*/ 584178 h 1139825"/>
                  <a:gd name="connsiteX90" fmla="*/ 418236 w 1111250"/>
                  <a:gd name="connsiteY90" fmla="*/ 593451 h 1139825"/>
                  <a:gd name="connsiteX91" fmla="*/ 377554 w 1111250"/>
                  <a:gd name="connsiteY91" fmla="*/ 617703 h 1139825"/>
                  <a:gd name="connsiteX92" fmla="*/ 361139 w 1111250"/>
                  <a:gd name="connsiteY92" fmla="*/ 626975 h 1139825"/>
                  <a:gd name="connsiteX93" fmla="*/ 345437 w 1111250"/>
                  <a:gd name="connsiteY93" fmla="*/ 636248 h 1139825"/>
                  <a:gd name="connsiteX94" fmla="*/ 315461 w 1111250"/>
                  <a:gd name="connsiteY94" fmla="*/ 654080 h 1139825"/>
                  <a:gd name="connsiteX95" fmla="*/ 308324 w 1111250"/>
                  <a:gd name="connsiteY95" fmla="*/ 671912 h 1139825"/>
                  <a:gd name="connsiteX96" fmla="*/ 255509 w 1111250"/>
                  <a:gd name="connsiteY96" fmla="*/ 813142 h 1139825"/>
                  <a:gd name="connsiteX97" fmla="*/ 246945 w 1111250"/>
                  <a:gd name="connsiteY97" fmla="*/ 833114 h 1139825"/>
                  <a:gd name="connsiteX98" fmla="*/ 131323 w 1111250"/>
                  <a:gd name="connsiteY98" fmla="*/ 903015 h 1139825"/>
                  <a:gd name="connsiteX99" fmla="*/ 0 w 1111250"/>
                  <a:gd name="connsiteY99" fmla="*/ 772485 h 1139825"/>
                  <a:gd name="connsiteX100" fmla="*/ 126327 w 1111250"/>
                  <a:gd name="connsiteY100" fmla="*/ 641954 h 1139825"/>
                  <a:gd name="connsiteX101" fmla="*/ 131323 w 1111250"/>
                  <a:gd name="connsiteY101" fmla="*/ 641954 h 1139825"/>
                  <a:gd name="connsiteX102" fmla="*/ 175573 w 1111250"/>
                  <a:gd name="connsiteY102" fmla="*/ 649800 h 1139825"/>
                  <a:gd name="connsiteX103" fmla="*/ 209118 w 1111250"/>
                  <a:gd name="connsiteY103" fmla="*/ 611996 h 1139825"/>
                  <a:gd name="connsiteX104" fmla="*/ 241949 w 1111250"/>
                  <a:gd name="connsiteY104" fmla="*/ 574906 h 1139825"/>
                  <a:gd name="connsiteX105" fmla="*/ 251227 w 1111250"/>
                  <a:gd name="connsiteY105" fmla="*/ 564920 h 1139825"/>
                  <a:gd name="connsiteX106" fmla="*/ 252654 w 1111250"/>
                  <a:gd name="connsiteY106" fmla="*/ 563493 h 1139825"/>
                  <a:gd name="connsiteX107" fmla="*/ 255509 w 1111250"/>
                  <a:gd name="connsiteY107" fmla="*/ 561353 h 1139825"/>
                  <a:gd name="connsiteX108" fmla="*/ 266929 w 1111250"/>
                  <a:gd name="connsiteY108" fmla="*/ 555647 h 1139825"/>
                  <a:gd name="connsiteX109" fmla="*/ 312606 w 1111250"/>
                  <a:gd name="connsiteY109" fmla="*/ 531395 h 1139825"/>
                  <a:gd name="connsiteX110" fmla="*/ 329022 w 1111250"/>
                  <a:gd name="connsiteY110" fmla="*/ 522836 h 1139825"/>
                  <a:gd name="connsiteX111" fmla="*/ 345437 w 1111250"/>
                  <a:gd name="connsiteY111" fmla="*/ 514277 h 1139825"/>
                  <a:gd name="connsiteX112" fmla="*/ 396111 w 1111250"/>
                  <a:gd name="connsiteY112" fmla="*/ 487172 h 1139825"/>
                  <a:gd name="connsiteX113" fmla="*/ 548845 w 1111250"/>
                  <a:gd name="connsiteY113" fmla="*/ 406571 h 1139825"/>
                  <a:gd name="connsiteX114" fmla="*/ 548845 w 1111250"/>
                  <a:gd name="connsiteY114" fmla="*/ 350935 h 1139825"/>
                  <a:gd name="connsiteX115" fmla="*/ 548845 w 1111250"/>
                  <a:gd name="connsiteY115" fmla="*/ 15692 h 1139825"/>
                  <a:gd name="connsiteX116" fmla="*/ 564547 w 1111250"/>
                  <a:gd name="connsiteY116" fmla="*/ 0 h 1139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</a:cxnLst>
                <a:rect l="l" t="t" r="r" b="b"/>
                <a:pathLst>
                  <a:path w="1111250" h="1139825">
                    <a:moveTo>
                      <a:pt x="131325" y="673100"/>
                    </a:moveTo>
                    <a:cubicBezTo>
                      <a:pt x="76559" y="673100"/>
                      <a:pt x="31750" y="717356"/>
                      <a:pt x="31750" y="772319"/>
                    </a:cubicBezTo>
                    <a:cubicBezTo>
                      <a:pt x="31750" y="827282"/>
                      <a:pt x="76559" y="871538"/>
                      <a:pt x="131325" y="871538"/>
                    </a:cubicBezTo>
                    <a:cubicBezTo>
                      <a:pt x="167598" y="871538"/>
                      <a:pt x="199605" y="851552"/>
                      <a:pt x="216675" y="821572"/>
                    </a:cubicBezTo>
                    <a:cubicBezTo>
                      <a:pt x="223787" y="810151"/>
                      <a:pt x="228055" y="796589"/>
                      <a:pt x="229477" y="783026"/>
                    </a:cubicBezTo>
                    <a:cubicBezTo>
                      <a:pt x="230188" y="779457"/>
                      <a:pt x="230188" y="775888"/>
                      <a:pt x="230188" y="772319"/>
                    </a:cubicBezTo>
                    <a:cubicBezTo>
                      <a:pt x="230188" y="740198"/>
                      <a:pt x="214541" y="710932"/>
                      <a:pt x="190358" y="693087"/>
                    </a:cubicBezTo>
                    <a:cubicBezTo>
                      <a:pt x="180401" y="685235"/>
                      <a:pt x="169021" y="679524"/>
                      <a:pt x="156930" y="675955"/>
                    </a:cubicBezTo>
                    <a:cubicBezTo>
                      <a:pt x="148395" y="673814"/>
                      <a:pt x="139860" y="673100"/>
                      <a:pt x="131325" y="673100"/>
                    </a:cubicBezTo>
                    <a:close/>
                    <a:moveTo>
                      <a:pt x="498232" y="604837"/>
                    </a:moveTo>
                    <a:cubicBezTo>
                      <a:pt x="498232" y="604837"/>
                      <a:pt x="498232" y="604837"/>
                      <a:pt x="548910" y="634832"/>
                    </a:cubicBezTo>
                    <a:cubicBezTo>
                      <a:pt x="548910" y="634832"/>
                      <a:pt x="548910" y="634832"/>
                      <a:pt x="580316" y="653400"/>
                    </a:cubicBezTo>
                    <a:cubicBezTo>
                      <a:pt x="580316" y="653400"/>
                      <a:pt x="580316" y="653400"/>
                      <a:pt x="611723" y="671254"/>
                    </a:cubicBezTo>
                    <a:cubicBezTo>
                      <a:pt x="611723" y="671254"/>
                      <a:pt x="611723" y="671254"/>
                      <a:pt x="863687" y="818371"/>
                    </a:cubicBezTo>
                    <a:cubicBezTo>
                      <a:pt x="867256" y="819799"/>
                      <a:pt x="870111" y="824084"/>
                      <a:pt x="870824" y="828369"/>
                    </a:cubicBezTo>
                    <a:cubicBezTo>
                      <a:pt x="871538" y="833368"/>
                      <a:pt x="870824" y="837653"/>
                      <a:pt x="867256" y="841224"/>
                    </a:cubicBezTo>
                    <a:cubicBezTo>
                      <a:pt x="857976" y="853365"/>
                      <a:pt x="835849" y="868362"/>
                      <a:pt x="806584" y="868362"/>
                    </a:cubicBezTo>
                    <a:cubicBezTo>
                      <a:pt x="791595" y="868362"/>
                      <a:pt x="774464" y="864077"/>
                      <a:pt x="756620" y="854079"/>
                    </a:cubicBezTo>
                    <a:cubicBezTo>
                      <a:pt x="738062" y="844081"/>
                      <a:pt x="680959" y="814800"/>
                      <a:pt x="611723" y="777664"/>
                    </a:cubicBezTo>
                    <a:cubicBezTo>
                      <a:pt x="601016" y="772665"/>
                      <a:pt x="591023" y="766951"/>
                      <a:pt x="580316" y="761238"/>
                    </a:cubicBezTo>
                    <a:cubicBezTo>
                      <a:pt x="570324" y="755525"/>
                      <a:pt x="559617" y="750526"/>
                      <a:pt x="548910" y="744812"/>
                    </a:cubicBezTo>
                    <a:cubicBezTo>
                      <a:pt x="497518" y="716960"/>
                      <a:pt x="443271" y="689108"/>
                      <a:pt x="396875" y="664827"/>
                    </a:cubicBezTo>
                    <a:cubicBezTo>
                      <a:pt x="396875" y="664827"/>
                      <a:pt x="396875" y="664827"/>
                      <a:pt x="413292" y="654828"/>
                    </a:cubicBezTo>
                    <a:cubicBezTo>
                      <a:pt x="413292" y="654828"/>
                      <a:pt x="413292" y="654828"/>
                      <a:pt x="428995" y="645544"/>
                    </a:cubicBezTo>
                    <a:cubicBezTo>
                      <a:pt x="428995" y="645544"/>
                      <a:pt x="428995" y="645544"/>
                      <a:pt x="466826" y="623405"/>
                    </a:cubicBezTo>
                    <a:cubicBezTo>
                      <a:pt x="466826" y="623405"/>
                      <a:pt x="466826" y="623405"/>
                      <a:pt x="482529" y="614121"/>
                    </a:cubicBezTo>
                    <a:cubicBezTo>
                      <a:pt x="482529" y="614121"/>
                      <a:pt x="482529" y="614121"/>
                      <a:pt x="498232" y="604837"/>
                    </a:cubicBezTo>
                    <a:close/>
                    <a:moveTo>
                      <a:pt x="130969" y="279400"/>
                    </a:moveTo>
                    <a:cubicBezTo>
                      <a:pt x="76720" y="279400"/>
                      <a:pt x="31750" y="323656"/>
                      <a:pt x="31750" y="377905"/>
                    </a:cubicBezTo>
                    <a:cubicBezTo>
                      <a:pt x="31750" y="432868"/>
                      <a:pt x="76720" y="477838"/>
                      <a:pt x="130969" y="477838"/>
                    </a:cubicBezTo>
                    <a:cubicBezTo>
                      <a:pt x="139535" y="477838"/>
                      <a:pt x="148101" y="476411"/>
                      <a:pt x="156666" y="474269"/>
                    </a:cubicBezTo>
                    <a:cubicBezTo>
                      <a:pt x="168801" y="470700"/>
                      <a:pt x="180222" y="464990"/>
                      <a:pt x="190215" y="457852"/>
                    </a:cubicBezTo>
                    <a:cubicBezTo>
                      <a:pt x="214485" y="439293"/>
                      <a:pt x="230188" y="410740"/>
                      <a:pt x="230188" y="377905"/>
                    </a:cubicBezTo>
                    <a:cubicBezTo>
                      <a:pt x="230188" y="374336"/>
                      <a:pt x="230188" y="371481"/>
                      <a:pt x="229474" y="367912"/>
                    </a:cubicBezTo>
                    <a:cubicBezTo>
                      <a:pt x="228047" y="353636"/>
                      <a:pt x="223764" y="340787"/>
                      <a:pt x="216626" y="328653"/>
                    </a:cubicBezTo>
                    <a:cubicBezTo>
                      <a:pt x="199495" y="299387"/>
                      <a:pt x="167373" y="279400"/>
                      <a:pt x="130969" y="279400"/>
                    </a:cubicBezTo>
                    <a:close/>
                    <a:moveTo>
                      <a:pt x="130765" y="247650"/>
                    </a:moveTo>
                    <a:cubicBezTo>
                      <a:pt x="180784" y="247650"/>
                      <a:pt x="224372" y="276202"/>
                      <a:pt x="246523" y="317602"/>
                    </a:cubicBezTo>
                    <a:cubicBezTo>
                      <a:pt x="250096" y="323312"/>
                      <a:pt x="252240" y="330450"/>
                      <a:pt x="255098" y="336874"/>
                    </a:cubicBezTo>
                    <a:cubicBezTo>
                      <a:pt x="255098" y="336874"/>
                      <a:pt x="255098" y="336874"/>
                      <a:pt x="307975" y="478205"/>
                    </a:cubicBezTo>
                    <a:cubicBezTo>
                      <a:pt x="302973" y="481060"/>
                      <a:pt x="298686" y="483201"/>
                      <a:pt x="293684" y="486056"/>
                    </a:cubicBezTo>
                    <a:cubicBezTo>
                      <a:pt x="289397" y="488198"/>
                      <a:pt x="284395" y="491053"/>
                      <a:pt x="280107" y="493194"/>
                    </a:cubicBezTo>
                    <a:cubicBezTo>
                      <a:pt x="253669" y="506756"/>
                      <a:pt x="236519" y="515322"/>
                      <a:pt x="232947" y="517463"/>
                    </a:cubicBezTo>
                    <a:cubicBezTo>
                      <a:pt x="232947" y="517463"/>
                      <a:pt x="232947" y="517463"/>
                      <a:pt x="232232" y="517463"/>
                    </a:cubicBezTo>
                    <a:cubicBezTo>
                      <a:pt x="232232" y="517463"/>
                      <a:pt x="232232" y="517463"/>
                      <a:pt x="225801" y="521032"/>
                    </a:cubicBezTo>
                    <a:cubicBezTo>
                      <a:pt x="223657" y="522460"/>
                      <a:pt x="221514" y="523887"/>
                      <a:pt x="219370" y="526029"/>
                    </a:cubicBezTo>
                    <a:cubicBezTo>
                      <a:pt x="219370" y="526029"/>
                      <a:pt x="219370" y="526029"/>
                      <a:pt x="208652" y="538163"/>
                    </a:cubicBezTo>
                    <a:cubicBezTo>
                      <a:pt x="208652" y="538163"/>
                      <a:pt x="208652" y="538163"/>
                      <a:pt x="175067" y="501046"/>
                    </a:cubicBezTo>
                    <a:cubicBezTo>
                      <a:pt x="161491" y="506043"/>
                      <a:pt x="146485" y="508184"/>
                      <a:pt x="130765" y="508184"/>
                    </a:cubicBezTo>
                    <a:cubicBezTo>
                      <a:pt x="128621" y="508184"/>
                      <a:pt x="127192" y="508184"/>
                      <a:pt x="125763" y="507470"/>
                    </a:cubicBezTo>
                    <a:cubicBezTo>
                      <a:pt x="56450" y="506043"/>
                      <a:pt x="0" y="448225"/>
                      <a:pt x="0" y="377560"/>
                    </a:cubicBezTo>
                    <a:cubicBezTo>
                      <a:pt x="0" y="306181"/>
                      <a:pt x="59309" y="247650"/>
                      <a:pt x="130765" y="247650"/>
                    </a:cubicBezTo>
                    <a:close/>
                    <a:moveTo>
                      <a:pt x="564547" y="0"/>
                    </a:moveTo>
                    <a:cubicBezTo>
                      <a:pt x="564547" y="0"/>
                      <a:pt x="564547" y="0"/>
                      <a:pt x="1095549" y="0"/>
                    </a:cubicBezTo>
                    <a:cubicBezTo>
                      <a:pt x="1104827" y="0"/>
                      <a:pt x="1111250" y="7133"/>
                      <a:pt x="1111250" y="15692"/>
                    </a:cubicBezTo>
                    <a:cubicBezTo>
                      <a:pt x="1111250" y="15692"/>
                      <a:pt x="1111250" y="15692"/>
                      <a:pt x="1111250" y="1124133"/>
                    </a:cubicBezTo>
                    <a:cubicBezTo>
                      <a:pt x="1111250" y="1132692"/>
                      <a:pt x="1104827" y="1139825"/>
                      <a:pt x="1095549" y="1139825"/>
                    </a:cubicBezTo>
                    <a:cubicBezTo>
                      <a:pt x="1095549" y="1139825"/>
                      <a:pt x="1095549" y="1139825"/>
                      <a:pt x="564547" y="1139825"/>
                    </a:cubicBezTo>
                    <a:cubicBezTo>
                      <a:pt x="555982" y="1139825"/>
                      <a:pt x="548845" y="1132692"/>
                      <a:pt x="548845" y="1124133"/>
                    </a:cubicBezTo>
                    <a:cubicBezTo>
                      <a:pt x="548845" y="1124133"/>
                      <a:pt x="548845" y="1124133"/>
                      <a:pt x="548845" y="798876"/>
                    </a:cubicBezTo>
                    <a:cubicBezTo>
                      <a:pt x="559551" y="804583"/>
                      <a:pt x="570256" y="810289"/>
                      <a:pt x="580248" y="815995"/>
                    </a:cubicBezTo>
                    <a:cubicBezTo>
                      <a:pt x="580248" y="815995"/>
                      <a:pt x="580248" y="815995"/>
                      <a:pt x="580248" y="1108441"/>
                    </a:cubicBezTo>
                    <a:cubicBezTo>
                      <a:pt x="580248" y="1108441"/>
                      <a:pt x="580248" y="1108441"/>
                      <a:pt x="1079847" y="1108441"/>
                    </a:cubicBezTo>
                    <a:cubicBezTo>
                      <a:pt x="1079847" y="1108441"/>
                      <a:pt x="1079847" y="1108441"/>
                      <a:pt x="1079847" y="538528"/>
                    </a:cubicBezTo>
                    <a:cubicBezTo>
                      <a:pt x="1079847" y="538528"/>
                      <a:pt x="1079847" y="538528"/>
                      <a:pt x="1080561" y="538528"/>
                    </a:cubicBezTo>
                    <a:cubicBezTo>
                      <a:pt x="1080561" y="538528"/>
                      <a:pt x="1080561" y="538528"/>
                      <a:pt x="1080561" y="507144"/>
                    </a:cubicBezTo>
                    <a:cubicBezTo>
                      <a:pt x="1080561" y="507144"/>
                      <a:pt x="1080561" y="507144"/>
                      <a:pt x="1080561" y="394445"/>
                    </a:cubicBezTo>
                    <a:cubicBezTo>
                      <a:pt x="1080561" y="394445"/>
                      <a:pt x="1080561" y="394445"/>
                      <a:pt x="1080561" y="139803"/>
                    </a:cubicBezTo>
                    <a:cubicBezTo>
                      <a:pt x="1080561" y="137664"/>
                      <a:pt x="1080561" y="136237"/>
                      <a:pt x="1079847" y="134810"/>
                    </a:cubicBezTo>
                    <a:cubicBezTo>
                      <a:pt x="1079847" y="134810"/>
                      <a:pt x="1079847" y="134810"/>
                      <a:pt x="1079847" y="31385"/>
                    </a:cubicBezTo>
                    <a:cubicBezTo>
                      <a:pt x="1079847" y="31385"/>
                      <a:pt x="1079847" y="31385"/>
                      <a:pt x="580248" y="31385"/>
                    </a:cubicBezTo>
                    <a:cubicBezTo>
                      <a:pt x="580248" y="31385"/>
                      <a:pt x="580248" y="31385"/>
                      <a:pt x="580248" y="135524"/>
                    </a:cubicBezTo>
                    <a:cubicBezTo>
                      <a:pt x="580248" y="135524"/>
                      <a:pt x="580248" y="135524"/>
                      <a:pt x="580248" y="334530"/>
                    </a:cubicBezTo>
                    <a:cubicBezTo>
                      <a:pt x="580248" y="334530"/>
                      <a:pt x="580248" y="334530"/>
                      <a:pt x="580248" y="389452"/>
                    </a:cubicBezTo>
                    <a:cubicBezTo>
                      <a:pt x="580248" y="389452"/>
                      <a:pt x="580248" y="389452"/>
                      <a:pt x="580248" y="407284"/>
                    </a:cubicBezTo>
                    <a:cubicBezTo>
                      <a:pt x="580248" y="407284"/>
                      <a:pt x="580248" y="407284"/>
                      <a:pt x="580248" y="425116"/>
                    </a:cubicBezTo>
                    <a:cubicBezTo>
                      <a:pt x="580248" y="425116"/>
                      <a:pt x="580248" y="425116"/>
                      <a:pt x="580248" y="462207"/>
                    </a:cubicBezTo>
                    <a:cubicBezTo>
                      <a:pt x="580248" y="462207"/>
                      <a:pt x="580248" y="462207"/>
                      <a:pt x="580248" y="480039"/>
                    </a:cubicBezTo>
                    <a:cubicBezTo>
                      <a:pt x="580248" y="480039"/>
                      <a:pt x="580248" y="480039"/>
                      <a:pt x="580248" y="498584"/>
                    </a:cubicBezTo>
                    <a:cubicBezTo>
                      <a:pt x="580248" y="498584"/>
                      <a:pt x="580248" y="498584"/>
                      <a:pt x="580248" y="538528"/>
                    </a:cubicBezTo>
                    <a:cubicBezTo>
                      <a:pt x="580248" y="538528"/>
                      <a:pt x="580248" y="538528"/>
                      <a:pt x="580248" y="554934"/>
                    </a:cubicBezTo>
                    <a:cubicBezTo>
                      <a:pt x="580248" y="554934"/>
                      <a:pt x="580248" y="554934"/>
                      <a:pt x="580248" y="575619"/>
                    </a:cubicBezTo>
                    <a:cubicBezTo>
                      <a:pt x="580248" y="575619"/>
                      <a:pt x="580248" y="575619"/>
                      <a:pt x="580248" y="594878"/>
                    </a:cubicBezTo>
                    <a:cubicBezTo>
                      <a:pt x="580248" y="594878"/>
                      <a:pt x="580248" y="594878"/>
                      <a:pt x="548845" y="576332"/>
                    </a:cubicBezTo>
                    <a:cubicBezTo>
                      <a:pt x="548845" y="576332"/>
                      <a:pt x="548845" y="576332"/>
                      <a:pt x="548845" y="575619"/>
                    </a:cubicBezTo>
                    <a:cubicBezTo>
                      <a:pt x="548845" y="575619"/>
                      <a:pt x="548845" y="575619"/>
                      <a:pt x="548845" y="573479"/>
                    </a:cubicBezTo>
                    <a:cubicBezTo>
                      <a:pt x="548845" y="573479"/>
                      <a:pt x="548845" y="573479"/>
                      <a:pt x="548845" y="517130"/>
                    </a:cubicBezTo>
                    <a:cubicBezTo>
                      <a:pt x="548845" y="517130"/>
                      <a:pt x="548845" y="517130"/>
                      <a:pt x="498171" y="546374"/>
                    </a:cubicBezTo>
                    <a:cubicBezTo>
                      <a:pt x="498171" y="546374"/>
                      <a:pt x="498171" y="546374"/>
                      <a:pt x="449639" y="574906"/>
                    </a:cubicBezTo>
                    <a:cubicBezTo>
                      <a:pt x="449639" y="574906"/>
                      <a:pt x="449639" y="574906"/>
                      <a:pt x="433937" y="584178"/>
                    </a:cubicBezTo>
                    <a:cubicBezTo>
                      <a:pt x="433937" y="584178"/>
                      <a:pt x="433937" y="584178"/>
                      <a:pt x="418236" y="593451"/>
                    </a:cubicBezTo>
                    <a:cubicBezTo>
                      <a:pt x="418236" y="593451"/>
                      <a:pt x="418236" y="593451"/>
                      <a:pt x="377554" y="617703"/>
                    </a:cubicBezTo>
                    <a:cubicBezTo>
                      <a:pt x="377554" y="617703"/>
                      <a:pt x="377554" y="617703"/>
                      <a:pt x="361139" y="626975"/>
                    </a:cubicBezTo>
                    <a:cubicBezTo>
                      <a:pt x="361139" y="626975"/>
                      <a:pt x="361139" y="626975"/>
                      <a:pt x="345437" y="636248"/>
                    </a:cubicBezTo>
                    <a:cubicBezTo>
                      <a:pt x="345437" y="636248"/>
                      <a:pt x="345437" y="636248"/>
                      <a:pt x="315461" y="654080"/>
                    </a:cubicBezTo>
                    <a:cubicBezTo>
                      <a:pt x="315461" y="654080"/>
                      <a:pt x="315461" y="654080"/>
                      <a:pt x="308324" y="671912"/>
                    </a:cubicBezTo>
                    <a:cubicBezTo>
                      <a:pt x="308324" y="671912"/>
                      <a:pt x="308324" y="671912"/>
                      <a:pt x="255509" y="813142"/>
                    </a:cubicBezTo>
                    <a:cubicBezTo>
                      <a:pt x="253368" y="820275"/>
                      <a:pt x="250513" y="826694"/>
                      <a:pt x="246945" y="833114"/>
                    </a:cubicBezTo>
                    <a:cubicBezTo>
                      <a:pt x="224820" y="874484"/>
                      <a:pt x="181283" y="903015"/>
                      <a:pt x="131323" y="903015"/>
                    </a:cubicBezTo>
                    <a:cubicBezTo>
                      <a:pt x="59238" y="903015"/>
                      <a:pt x="0" y="844526"/>
                      <a:pt x="0" y="772485"/>
                    </a:cubicBezTo>
                    <a:cubicBezTo>
                      <a:pt x="0" y="701870"/>
                      <a:pt x="56384" y="644094"/>
                      <a:pt x="126327" y="641954"/>
                    </a:cubicBezTo>
                    <a:cubicBezTo>
                      <a:pt x="127755" y="641954"/>
                      <a:pt x="129182" y="641954"/>
                      <a:pt x="131323" y="641954"/>
                    </a:cubicBezTo>
                    <a:cubicBezTo>
                      <a:pt x="147025" y="641954"/>
                      <a:pt x="162013" y="644807"/>
                      <a:pt x="175573" y="649800"/>
                    </a:cubicBezTo>
                    <a:cubicBezTo>
                      <a:pt x="175573" y="649800"/>
                      <a:pt x="175573" y="649800"/>
                      <a:pt x="209118" y="611996"/>
                    </a:cubicBezTo>
                    <a:cubicBezTo>
                      <a:pt x="209118" y="611996"/>
                      <a:pt x="209118" y="611996"/>
                      <a:pt x="241949" y="574906"/>
                    </a:cubicBezTo>
                    <a:cubicBezTo>
                      <a:pt x="241949" y="574906"/>
                      <a:pt x="241949" y="574906"/>
                      <a:pt x="251227" y="564920"/>
                    </a:cubicBezTo>
                    <a:cubicBezTo>
                      <a:pt x="251941" y="564206"/>
                      <a:pt x="252654" y="563493"/>
                      <a:pt x="252654" y="563493"/>
                    </a:cubicBezTo>
                    <a:cubicBezTo>
                      <a:pt x="254082" y="562780"/>
                      <a:pt x="254796" y="562067"/>
                      <a:pt x="255509" y="561353"/>
                    </a:cubicBezTo>
                    <a:cubicBezTo>
                      <a:pt x="256223" y="561353"/>
                      <a:pt x="259792" y="559213"/>
                      <a:pt x="266929" y="555647"/>
                    </a:cubicBezTo>
                    <a:cubicBezTo>
                      <a:pt x="276921" y="550654"/>
                      <a:pt x="292622" y="542095"/>
                      <a:pt x="312606" y="531395"/>
                    </a:cubicBezTo>
                    <a:cubicBezTo>
                      <a:pt x="317602" y="528542"/>
                      <a:pt x="323312" y="525689"/>
                      <a:pt x="329022" y="522836"/>
                    </a:cubicBezTo>
                    <a:cubicBezTo>
                      <a:pt x="334018" y="519983"/>
                      <a:pt x="339727" y="517130"/>
                      <a:pt x="345437" y="514277"/>
                    </a:cubicBezTo>
                    <a:cubicBezTo>
                      <a:pt x="361139" y="505717"/>
                      <a:pt x="378268" y="496445"/>
                      <a:pt x="396111" y="487172"/>
                    </a:cubicBezTo>
                    <a:cubicBezTo>
                      <a:pt x="443216" y="462207"/>
                      <a:pt x="497458" y="433676"/>
                      <a:pt x="548845" y="406571"/>
                    </a:cubicBezTo>
                    <a:cubicBezTo>
                      <a:pt x="548845" y="406571"/>
                      <a:pt x="548845" y="406571"/>
                      <a:pt x="548845" y="350935"/>
                    </a:cubicBezTo>
                    <a:cubicBezTo>
                      <a:pt x="548845" y="350935"/>
                      <a:pt x="548845" y="350935"/>
                      <a:pt x="548845" y="15692"/>
                    </a:cubicBezTo>
                    <a:cubicBezTo>
                      <a:pt x="548845" y="7133"/>
                      <a:pt x="555982" y="0"/>
                      <a:pt x="564547" y="0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80" name="Half Frame 4"/>
          <p:cNvSpPr/>
          <p:nvPr/>
        </p:nvSpPr>
        <p:spPr>
          <a:xfrm>
            <a:off x="5940729" y="3388258"/>
            <a:ext cx="4476445" cy="920027"/>
          </a:xfrm>
          <a:prstGeom prst="halfFrame">
            <a:avLst>
              <a:gd name="adj1" fmla="val 3631"/>
              <a:gd name="adj2" fmla="val 4123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1" name="ee4pHeader1"/>
          <p:cNvSpPr txBox="1"/>
          <p:nvPr/>
        </p:nvSpPr>
        <p:spPr>
          <a:xfrm>
            <a:off x="5927218" y="2685497"/>
            <a:ext cx="4503468" cy="64347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 algn="ctr"/>
            <a:r>
              <a:rPr lang="el-GR" sz="1500" b="1" dirty="0">
                <a:solidFill>
                  <a:schemeClr val="tx2"/>
                </a:solidFill>
              </a:rPr>
              <a:t>Νέα προτεινόμενα</a:t>
            </a:r>
            <a:r>
              <a:rPr lang="en-US" sz="1500" b="1" dirty="0">
                <a:solidFill>
                  <a:schemeClr val="tx2"/>
                </a:solidFill>
              </a:rPr>
              <a:t> </a:t>
            </a:r>
            <a:r>
              <a:rPr lang="el-GR" sz="1500" b="1" dirty="0">
                <a:solidFill>
                  <a:schemeClr val="tx2"/>
                </a:solidFill>
              </a:rPr>
              <a:t>στην ΕΕ όρια ενίσχυσης</a:t>
            </a:r>
          </a:p>
          <a:p>
            <a:pPr marL="0" lvl="3" algn="ctr"/>
            <a:r>
              <a:rPr lang="el-GR" sz="1500" b="1" dirty="0">
                <a:solidFill>
                  <a:schemeClr val="tx2"/>
                </a:solidFill>
              </a:rPr>
              <a:t> για το ΣΔΑΜ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5997660" y="3433856"/>
            <a:ext cx="4608154" cy="17152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spcBef>
                <a:spcPts val="300"/>
              </a:spcBef>
              <a:spcAft>
                <a:spcPts val="300"/>
              </a:spcAft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Περιφερειακές ενότητες Κοζάνης, Φλώρινας: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60% για μεγάλ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70% για μεσαί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80% για μικρές επιχειρήσεις </a:t>
            </a:r>
          </a:p>
          <a:p>
            <a:pPr marL="0" lvl="1">
              <a:spcBef>
                <a:spcPts val="300"/>
              </a:spcBef>
              <a:spcAft>
                <a:spcPts val="300"/>
              </a:spcAft>
              <a:buClr>
                <a:schemeClr val="tx2">
                  <a:lumMod val="100000"/>
                </a:schemeClr>
              </a:buClr>
              <a:buSzPct val="100000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Δήμος Μεγαλόπολη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60% για μεγάλ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70% για μεσαίες επιχειρήσεις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l-GR" sz="13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80% για μικρές επιχειρήσεις </a:t>
            </a:r>
          </a:p>
        </p:txBody>
      </p:sp>
      <p:sp>
        <p:nvSpPr>
          <p:cNvPr id="83" name="AutoShape 3">
            <a:extLst>
              <a:ext uri="{FF2B5EF4-FFF2-40B4-BE49-F238E27FC236}">
                <a16:creationId xmlns:a16="http://schemas.microsoft.com/office/drawing/2014/main" id="{E391DEB2-59B9-4E46-AD24-677915AE1F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107537" y="1808807"/>
            <a:ext cx="2142829" cy="1266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92" name="Group 57"/>
          <p:cNvGrpSpPr>
            <a:grpSpLocks noChangeAspect="1"/>
          </p:cNvGrpSpPr>
          <p:nvPr/>
        </p:nvGrpSpPr>
        <p:grpSpPr>
          <a:xfrm>
            <a:off x="7495627" y="1879904"/>
            <a:ext cx="1125488" cy="1124402"/>
            <a:chOff x="6464300" y="2606675"/>
            <a:chExt cx="1646238" cy="1644650"/>
          </a:xfrm>
        </p:grpSpPr>
        <p:sp>
          <p:nvSpPr>
            <p:cNvPr id="93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4" name="Group 59"/>
            <p:cNvGrpSpPr/>
            <p:nvPr/>
          </p:nvGrpSpPr>
          <p:grpSpPr>
            <a:xfrm>
              <a:off x="6729413" y="2881313"/>
              <a:ext cx="1123838" cy="1125538"/>
              <a:chOff x="6729413" y="2881313"/>
              <a:chExt cx="1123838" cy="1125538"/>
            </a:xfrm>
          </p:grpSpPr>
          <p:sp>
            <p:nvSpPr>
              <p:cNvPr id="95" name="Freeform 60"/>
              <p:cNvSpPr>
                <a:spLocks/>
              </p:cNvSpPr>
              <p:nvPr/>
            </p:nvSpPr>
            <p:spPr bwMode="auto">
              <a:xfrm>
                <a:off x="7073900" y="2881313"/>
                <a:ext cx="709613" cy="574675"/>
              </a:xfrm>
              <a:custGeom>
                <a:avLst/>
                <a:gdLst>
                  <a:gd name="T0" fmla="*/ 992 w 993"/>
                  <a:gd name="T1" fmla="*/ 8 h 805"/>
                  <a:gd name="T2" fmla="*/ 983 w 993"/>
                  <a:gd name="T3" fmla="*/ 0 h 805"/>
                  <a:gd name="T4" fmla="*/ 486 w 993"/>
                  <a:gd name="T5" fmla="*/ 429 h 805"/>
                  <a:gd name="T6" fmla="*/ 469 w 993"/>
                  <a:gd name="T7" fmla="*/ 433 h 805"/>
                  <a:gd name="T8" fmla="*/ 9 w 993"/>
                  <a:gd name="T9" fmla="*/ 255 h 805"/>
                  <a:gd name="T10" fmla="*/ 0 w 993"/>
                  <a:gd name="T11" fmla="*/ 264 h 805"/>
                  <a:gd name="T12" fmla="*/ 385 w 993"/>
                  <a:gd name="T13" fmla="*/ 649 h 805"/>
                  <a:gd name="T14" fmla="*/ 393 w 993"/>
                  <a:gd name="T15" fmla="*/ 641 h 805"/>
                  <a:gd name="T16" fmla="*/ 284 w 993"/>
                  <a:gd name="T17" fmla="*/ 426 h 805"/>
                  <a:gd name="T18" fmla="*/ 294 w 993"/>
                  <a:gd name="T19" fmla="*/ 412 h 805"/>
                  <a:gd name="T20" fmla="*/ 461 w 993"/>
                  <a:gd name="T21" fmla="*/ 766 h 805"/>
                  <a:gd name="T22" fmla="*/ 461 w 993"/>
                  <a:gd name="T23" fmla="*/ 794 h 805"/>
                  <a:gd name="T24" fmla="*/ 521 w 993"/>
                  <a:gd name="T25" fmla="*/ 797 h 805"/>
                  <a:gd name="T26" fmla="*/ 562 w 993"/>
                  <a:gd name="T27" fmla="*/ 805 h 805"/>
                  <a:gd name="T28" fmla="*/ 554 w 993"/>
                  <a:gd name="T29" fmla="*/ 681 h 805"/>
                  <a:gd name="T30" fmla="*/ 555 w 993"/>
                  <a:gd name="T31" fmla="*/ 524 h 805"/>
                  <a:gd name="T32" fmla="*/ 578 w 993"/>
                  <a:gd name="T33" fmla="*/ 391 h 805"/>
                  <a:gd name="T34" fmla="*/ 679 w 993"/>
                  <a:gd name="T35" fmla="*/ 227 h 805"/>
                  <a:gd name="T36" fmla="*/ 745 w 993"/>
                  <a:gd name="T37" fmla="*/ 180 h 805"/>
                  <a:gd name="T38" fmla="*/ 755 w 993"/>
                  <a:gd name="T39" fmla="*/ 194 h 805"/>
                  <a:gd name="T40" fmla="*/ 623 w 993"/>
                  <a:gd name="T41" fmla="*/ 477 h 805"/>
                  <a:gd name="T42" fmla="*/ 632 w 993"/>
                  <a:gd name="T43" fmla="*/ 487 h 805"/>
                  <a:gd name="T44" fmla="*/ 992 w 993"/>
                  <a:gd name="T45" fmla="*/ 8 h 8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3" h="805">
                    <a:moveTo>
                      <a:pt x="992" y="8"/>
                    </a:moveTo>
                    <a:cubicBezTo>
                      <a:pt x="992" y="3"/>
                      <a:pt x="988" y="0"/>
                      <a:pt x="983" y="0"/>
                    </a:cubicBezTo>
                    <a:cubicBezTo>
                      <a:pt x="559" y="3"/>
                      <a:pt x="495" y="259"/>
                      <a:pt x="486" y="429"/>
                    </a:cubicBezTo>
                    <a:cubicBezTo>
                      <a:pt x="486" y="438"/>
                      <a:pt x="474" y="441"/>
                      <a:pt x="469" y="433"/>
                    </a:cubicBezTo>
                    <a:cubicBezTo>
                      <a:pt x="417" y="327"/>
                      <a:pt x="293" y="242"/>
                      <a:pt x="9" y="255"/>
                    </a:cubicBezTo>
                    <a:cubicBezTo>
                      <a:pt x="4" y="255"/>
                      <a:pt x="0" y="259"/>
                      <a:pt x="0" y="264"/>
                    </a:cubicBezTo>
                    <a:cubicBezTo>
                      <a:pt x="3" y="321"/>
                      <a:pt x="35" y="645"/>
                      <a:pt x="385" y="649"/>
                    </a:cubicBezTo>
                    <a:cubicBezTo>
                      <a:pt x="389" y="649"/>
                      <a:pt x="393" y="645"/>
                      <a:pt x="393" y="641"/>
                    </a:cubicBezTo>
                    <a:cubicBezTo>
                      <a:pt x="395" y="614"/>
                      <a:pt x="392" y="523"/>
                      <a:pt x="284" y="426"/>
                    </a:cubicBezTo>
                    <a:cubicBezTo>
                      <a:pt x="276" y="420"/>
                      <a:pt x="284" y="408"/>
                      <a:pt x="294" y="412"/>
                    </a:cubicBezTo>
                    <a:cubicBezTo>
                      <a:pt x="427" y="475"/>
                      <a:pt x="467" y="630"/>
                      <a:pt x="461" y="766"/>
                    </a:cubicBezTo>
                    <a:cubicBezTo>
                      <a:pt x="460" y="772"/>
                      <a:pt x="460" y="782"/>
                      <a:pt x="461" y="794"/>
                    </a:cubicBezTo>
                    <a:cubicBezTo>
                      <a:pt x="521" y="797"/>
                      <a:pt x="521" y="797"/>
                      <a:pt x="521" y="797"/>
                    </a:cubicBezTo>
                    <a:cubicBezTo>
                      <a:pt x="535" y="798"/>
                      <a:pt x="549" y="801"/>
                      <a:pt x="562" y="805"/>
                    </a:cubicBezTo>
                    <a:cubicBezTo>
                      <a:pt x="565" y="763"/>
                      <a:pt x="557" y="710"/>
                      <a:pt x="554" y="681"/>
                    </a:cubicBezTo>
                    <a:cubicBezTo>
                      <a:pt x="551" y="628"/>
                      <a:pt x="552" y="576"/>
                      <a:pt x="555" y="524"/>
                    </a:cubicBezTo>
                    <a:cubicBezTo>
                      <a:pt x="557" y="479"/>
                      <a:pt x="564" y="434"/>
                      <a:pt x="578" y="391"/>
                    </a:cubicBezTo>
                    <a:cubicBezTo>
                      <a:pt x="597" y="329"/>
                      <a:pt x="632" y="272"/>
                      <a:pt x="679" y="227"/>
                    </a:cubicBezTo>
                    <a:cubicBezTo>
                      <a:pt x="699" y="209"/>
                      <a:pt x="721" y="193"/>
                      <a:pt x="745" y="180"/>
                    </a:cubicBezTo>
                    <a:cubicBezTo>
                      <a:pt x="753" y="175"/>
                      <a:pt x="761" y="186"/>
                      <a:pt x="755" y="194"/>
                    </a:cubicBezTo>
                    <a:cubicBezTo>
                      <a:pt x="643" y="322"/>
                      <a:pt x="626" y="444"/>
                      <a:pt x="623" y="477"/>
                    </a:cubicBezTo>
                    <a:cubicBezTo>
                      <a:pt x="623" y="482"/>
                      <a:pt x="627" y="487"/>
                      <a:pt x="632" y="487"/>
                    </a:cubicBezTo>
                    <a:cubicBezTo>
                      <a:pt x="984" y="480"/>
                      <a:pt x="993" y="73"/>
                      <a:pt x="992" y="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6" name="Freeform 61"/>
              <p:cNvSpPr>
                <a:spLocks/>
              </p:cNvSpPr>
              <p:nvPr/>
            </p:nvSpPr>
            <p:spPr bwMode="auto">
              <a:xfrm>
                <a:off x="6729413" y="3465513"/>
                <a:ext cx="1123838" cy="541338"/>
              </a:xfrm>
              <a:custGeom>
                <a:avLst/>
                <a:gdLst>
                  <a:gd name="connsiteX0" fmla="*/ 409739 w 1123838"/>
                  <a:gd name="connsiteY0" fmla="*/ 31591 h 541338"/>
                  <a:gd name="connsiteX1" fmla="*/ 326138 w 1123838"/>
                  <a:gd name="connsiteY1" fmla="*/ 51601 h 541338"/>
                  <a:gd name="connsiteX2" fmla="*/ 31750 w 1123838"/>
                  <a:gd name="connsiteY2" fmla="*/ 218820 h 541338"/>
                  <a:gd name="connsiteX3" fmla="*/ 31750 w 1123838"/>
                  <a:gd name="connsiteY3" fmla="*/ 503237 h 541338"/>
                  <a:gd name="connsiteX4" fmla="*/ 368296 w 1123838"/>
                  <a:gd name="connsiteY4" fmla="*/ 373177 h 541338"/>
                  <a:gd name="connsiteX5" fmla="*/ 419028 w 1123838"/>
                  <a:gd name="connsiteY5" fmla="*/ 365316 h 541338"/>
                  <a:gd name="connsiteX6" fmla="*/ 568366 w 1123838"/>
                  <a:gd name="connsiteY6" fmla="*/ 376036 h 541338"/>
                  <a:gd name="connsiteX7" fmla="*/ 797017 w 1123838"/>
                  <a:gd name="connsiteY7" fmla="*/ 349595 h 541338"/>
                  <a:gd name="connsiteX8" fmla="*/ 1047818 w 1123838"/>
                  <a:gd name="connsiteY8" fmla="*/ 183090 h 541338"/>
                  <a:gd name="connsiteX9" fmla="*/ 1079972 w 1123838"/>
                  <a:gd name="connsiteY9" fmla="*/ 145930 h 541338"/>
                  <a:gd name="connsiteX10" fmla="*/ 1074971 w 1123838"/>
                  <a:gd name="connsiteY10" fmla="*/ 71610 h 541338"/>
                  <a:gd name="connsiteX11" fmla="*/ 1036386 w 1123838"/>
                  <a:gd name="connsiteY11" fmla="*/ 58032 h 541338"/>
                  <a:gd name="connsiteX12" fmla="*/ 999230 w 1123838"/>
                  <a:gd name="connsiteY12" fmla="*/ 75897 h 541338"/>
                  <a:gd name="connsiteX13" fmla="*/ 951356 w 1123838"/>
                  <a:gd name="connsiteY13" fmla="*/ 129494 h 541338"/>
                  <a:gd name="connsiteX14" fmla="*/ 805591 w 1123838"/>
                  <a:gd name="connsiteY14" fmla="*/ 220964 h 541338"/>
                  <a:gd name="connsiteX15" fmla="*/ 608380 w 1123838"/>
                  <a:gd name="connsiteY15" fmla="*/ 210245 h 541338"/>
                  <a:gd name="connsiteX16" fmla="*/ 553360 w 1123838"/>
                  <a:gd name="connsiteY16" fmla="*/ 188092 h 541338"/>
                  <a:gd name="connsiteX17" fmla="*/ 544071 w 1123838"/>
                  <a:gd name="connsiteY17" fmla="*/ 171656 h 541338"/>
                  <a:gd name="connsiteX18" fmla="*/ 557648 w 1123838"/>
                  <a:gd name="connsiteY18" fmla="*/ 158078 h 541338"/>
                  <a:gd name="connsiteX19" fmla="*/ 715560 w 1123838"/>
                  <a:gd name="connsiteY19" fmla="*/ 142357 h 541338"/>
                  <a:gd name="connsiteX20" fmla="*/ 759146 w 1123838"/>
                  <a:gd name="connsiteY20" fmla="*/ 95192 h 541338"/>
                  <a:gd name="connsiteX21" fmla="*/ 713416 w 1123838"/>
                  <a:gd name="connsiteY21" fmla="*/ 47313 h 541338"/>
                  <a:gd name="connsiteX22" fmla="*/ 409739 w 1123838"/>
                  <a:gd name="connsiteY22" fmla="*/ 31591 h 541338"/>
                  <a:gd name="connsiteX23" fmla="*/ 390213 w 1123838"/>
                  <a:gd name="connsiteY23" fmla="*/ 0 h 541338"/>
                  <a:gd name="connsiteX24" fmla="*/ 393786 w 1123838"/>
                  <a:gd name="connsiteY24" fmla="*/ 0 h 541338"/>
                  <a:gd name="connsiteX25" fmla="*/ 396645 w 1123838"/>
                  <a:gd name="connsiteY25" fmla="*/ 0 h 541338"/>
                  <a:gd name="connsiteX26" fmla="*/ 399504 w 1123838"/>
                  <a:gd name="connsiteY26" fmla="*/ 0 h 541338"/>
                  <a:gd name="connsiteX27" fmla="*/ 403077 w 1123838"/>
                  <a:gd name="connsiteY27" fmla="*/ 0 h 541338"/>
                  <a:gd name="connsiteX28" fmla="*/ 410939 w 1123838"/>
                  <a:gd name="connsiteY28" fmla="*/ 0 h 541338"/>
                  <a:gd name="connsiteX29" fmla="*/ 715390 w 1123838"/>
                  <a:gd name="connsiteY29" fmla="*/ 15712 h 541338"/>
                  <a:gd name="connsiteX30" fmla="*/ 780426 w 1123838"/>
                  <a:gd name="connsiteY30" fmla="*/ 56419 h 541338"/>
                  <a:gd name="connsiteX31" fmla="*/ 782570 w 1123838"/>
                  <a:gd name="connsiteY31" fmla="*/ 60704 h 541338"/>
                  <a:gd name="connsiteX32" fmla="*/ 789002 w 1123838"/>
                  <a:gd name="connsiteY32" fmla="*/ 79273 h 541338"/>
                  <a:gd name="connsiteX33" fmla="*/ 790431 w 1123838"/>
                  <a:gd name="connsiteY33" fmla="*/ 94984 h 541338"/>
                  <a:gd name="connsiteX34" fmla="*/ 789716 w 1123838"/>
                  <a:gd name="connsiteY34" fmla="*/ 100698 h 541338"/>
                  <a:gd name="connsiteX35" fmla="*/ 789716 w 1123838"/>
                  <a:gd name="connsiteY35" fmla="*/ 101412 h 541338"/>
                  <a:gd name="connsiteX36" fmla="*/ 789002 w 1123838"/>
                  <a:gd name="connsiteY36" fmla="*/ 107125 h 541338"/>
                  <a:gd name="connsiteX37" fmla="*/ 763988 w 1123838"/>
                  <a:gd name="connsiteY37" fmla="*/ 154260 h 541338"/>
                  <a:gd name="connsiteX38" fmla="*/ 763273 w 1123838"/>
                  <a:gd name="connsiteY38" fmla="*/ 154260 h 541338"/>
                  <a:gd name="connsiteX39" fmla="*/ 758985 w 1123838"/>
                  <a:gd name="connsiteY39" fmla="*/ 157831 h 541338"/>
                  <a:gd name="connsiteX40" fmla="*/ 754697 w 1123838"/>
                  <a:gd name="connsiteY40" fmla="*/ 160688 h 541338"/>
                  <a:gd name="connsiteX41" fmla="*/ 753983 w 1123838"/>
                  <a:gd name="connsiteY41" fmla="*/ 161402 h 541338"/>
                  <a:gd name="connsiteX42" fmla="*/ 749695 w 1123838"/>
                  <a:gd name="connsiteY42" fmla="*/ 164258 h 541338"/>
                  <a:gd name="connsiteX43" fmla="*/ 748265 w 1123838"/>
                  <a:gd name="connsiteY43" fmla="*/ 164973 h 541338"/>
                  <a:gd name="connsiteX44" fmla="*/ 743263 w 1123838"/>
                  <a:gd name="connsiteY44" fmla="*/ 167115 h 541338"/>
                  <a:gd name="connsiteX45" fmla="*/ 742548 w 1123838"/>
                  <a:gd name="connsiteY45" fmla="*/ 167829 h 541338"/>
                  <a:gd name="connsiteX46" fmla="*/ 738260 w 1123838"/>
                  <a:gd name="connsiteY46" fmla="*/ 169258 h 541338"/>
                  <a:gd name="connsiteX47" fmla="*/ 718964 w 1123838"/>
                  <a:gd name="connsiteY47" fmla="*/ 173543 h 541338"/>
                  <a:gd name="connsiteX48" fmla="*/ 624626 w 1123838"/>
                  <a:gd name="connsiteY48" fmla="*/ 182827 h 541338"/>
                  <a:gd name="connsiteX49" fmla="*/ 743263 w 1123838"/>
                  <a:gd name="connsiteY49" fmla="*/ 199967 h 541338"/>
                  <a:gd name="connsiteX50" fmla="*/ 775423 w 1123838"/>
                  <a:gd name="connsiteY50" fmla="*/ 195682 h 541338"/>
                  <a:gd name="connsiteX51" fmla="*/ 785428 w 1123838"/>
                  <a:gd name="connsiteY51" fmla="*/ 193539 h 541338"/>
                  <a:gd name="connsiteX52" fmla="*/ 786858 w 1123838"/>
                  <a:gd name="connsiteY52" fmla="*/ 192825 h 541338"/>
                  <a:gd name="connsiteX53" fmla="*/ 796863 w 1123838"/>
                  <a:gd name="connsiteY53" fmla="*/ 190683 h 541338"/>
                  <a:gd name="connsiteX54" fmla="*/ 826880 w 1123838"/>
                  <a:gd name="connsiteY54" fmla="*/ 179970 h 541338"/>
                  <a:gd name="connsiteX55" fmla="*/ 909782 w 1123838"/>
                  <a:gd name="connsiteY55" fmla="*/ 127122 h 541338"/>
                  <a:gd name="connsiteX56" fmla="*/ 928363 w 1123838"/>
                  <a:gd name="connsiteY56" fmla="*/ 108553 h 541338"/>
                  <a:gd name="connsiteX57" fmla="*/ 975532 w 1123838"/>
                  <a:gd name="connsiteY57" fmla="*/ 54991 h 541338"/>
                  <a:gd name="connsiteX58" fmla="*/ 978391 w 1123838"/>
                  <a:gd name="connsiteY58" fmla="*/ 51420 h 541338"/>
                  <a:gd name="connsiteX59" fmla="*/ 979105 w 1123838"/>
                  <a:gd name="connsiteY59" fmla="*/ 51420 h 541338"/>
                  <a:gd name="connsiteX60" fmla="*/ 1034135 w 1123838"/>
                  <a:gd name="connsiteY60" fmla="*/ 26424 h 541338"/>
                  <a:gd name="connsiteX61" fmla="*/ 1034850 w 1123838"/>
                  <a:gd name="connsiteY61" fmla="*/ 26424 h 541338"/>
                  <a:gd name="connsiteX62" fmla="*/ 1039138 w 1123838"/>
                  <a:gd name="connsiteY62" fmla="*/ 26424 h 541338"/>
                  <a:gd name="connsiteX63" fmla="*/ 1040567 w 1123838"/>
                  <a:gd name="connsiteY63" fmla="*/ 26424 h 541338"/>
                  <a:gd name="connsiteX64" fmla="*/ 1079875 w 1123838"/>
                  <a:gd name="connsiteY64" fmla="*/ 37137 h 541338"/>
                  <a:gd name="connsiteX65" fmla="*/ 1083448 w 1123838"/>
                  <a:gd name="connsiteY65" fmla="*/ 39279 h 541338"/>
                  <a:gd name="connsiteX66" fmla="*/ 1086307 w 1123838"/>
                  <a:gd name="connsiteY66" fmla="*/ 40708 h 541338"/>
                  <a:gd name="connsiteX67" fmla="*/ 1087021 w 1123838"/>
                  <a:gd name="connsiteY67" fmla="*/ 41422 h 541338"/>
                  <a:gd name="connsiteX68" fmla="*/ 1089880 w 1123838"/>
                  <a:gd name="connsiteY68" fmla="*/ 43564 h 541338"/>
                  <a:gd name="connsiteX69" fmla="*/ 1090595 w 1123838"/>
                  <a:gd name="connsiteY69" fmla="*/ 44278 h 541338"/>
                  <a:gd name="connsiteX70" fmla="*/ 1092739 w 1123838"/>
                  <a:gd name="connsiteY70" fmla="*/ 45707 h 541338"/>
                  <a:gd name="connsiteX71" fmla="*/ 1095597 w 1123838"/>
                  <a:gd name="connsiteY71" fmla="*/ 47849 h 541338"/>
                  <a:gd name="connsiteX72" fmla="*/ 1095597 w 1123838"/>
                  <a:gd name="connsiteY72" fmla="*/ 48563 h 541338"/>
                  <a:gd name="connsiteX73" fmla="*/ 1103459 w 1123838"/>
                  <a:gd name="connsiteY73" fmla="*/ 165687 h 541338"/>
                  <a:gd name="connsiteX74" fmla="*/ 1072013 w 1123838"/>
                  <a:gd name="connsiteY74" fmla="*/ 203538 h 541338"/>
                  <a:gd name="connsiteX75" fmla="*/ 966241 w 1123838"/>
                  <a:gd name="connsiteY75" fmla="*/ 299950 h 541338"/>
                  <a:gd name="connsiteX76" fmla="*/ 956950 w 1123838"/>
                  <a:gd name="connsiteY76" fmla="*/ 306377 h 541338"/>
                  <a:gd name="connsiteX77" fmla="*/ 948374 w 1123838"/>
                  <a:gd name="connsiteY77" fmla="*/ 312091 h 541338"/>
                  <a:gd name="connsiteX78" fmla="*/ 806154 w 1123838"/>
                  <a:gd name="connsiteY78" fmla="*/ 379222 h 541338"/>
                  <a:gd name="connsiteX79" fmla="*/ 792575 w 1123838"/>
                  <a:gd name="connsiteY79" fmla="*/ 383507 h 541338"/>
                  <a:gd name="connsiteX80" fmla="*/ 788287 w 1123838"/>
                  <a:gd name="connsiteY80" fmla="*/ 384222 h 541338"/>
                  <a:gd name="connsiteX81" fmla="*/ 779711 w 1123838"/>
                  <a:gd name="connsiteY81" fmla="*/ 387078 h 541338"/>
                  <a:gd name="connsiteX82" fmla="*/ 773994 w 1123838"/>
                  <a:gd name="connsiteY82" fmla="*/ 388507 h 541338"/>
                  <a:gd name="connsiteX83" fmla="*/ 766132 w 1123838"/>
                  <a:gd name="connsiteY83" fmla="*/ 389935 h 541338"/>
                  <a:gd name="connsiteX84" fmla="*/ 759700 w 1123838"/>
                  <a:gd name="connsiteY84" fmla="*/ 392077 h 541338"/>
                  <a:gd name="connsiteX85" fmla="*/ 753983 w 1123838"/>
                  <a:gd name="connsiteY85" fmla="*/ 392792 h 541338"/>
                  <a:gd name="connsiteX86" fmla="*/ 724681 w 1123838"/>
                  <a:gd name="connsiteY86" fmla="*/ 399219 h 541338"/>
                  <a:gd name="connsiteX87" fmla="*/ 721822 w 1123838"/>
                  <a:gd name="connsiteY87" fmla="*/ 399219 h 541338"/>
                  <a:gd name="connsiteX88" fmla="*/ 711102 w 1123838"/>
                  <a:gd name="connsiteY88" fmla="*/ 401362 h 541338"/>
                  <a:gd name="connsiteX89" fmla="*/ 709673 w 1123838"/>
                  <a:gd name="connsiteY89" fmla="*/ 401362 h 541338"/>
                  <a:gd name="connsiteX90" fmla="*/ 650355 w 1123838"/>
                  <a:gd name="connsiteY90" fmla="*/ 407789 h 541338"/>
                  <a:gd name="connsiteX91" fmla="*/ 648211 w 1123838"/>
                  <a:gd name="connsiteY91" fmla="*/ 407789 h 541338"/>
                  <a:gd name="connsiteX92" fmla="*/ 637491 w 1123838"/>
                  <a:gd name="connsiteY92" fmla="*/ 408503 h 541338"/>
                  <a:gd name="connsiteX93" fmla="*/ 635347 w 1123838"/>
                  <a:gd name="connsiteY93" fmla="*/ 408503 h 541338"/>
                  <a:gd name="connsiteX94" fmla="*/ 621053 w 1123838"/>
                  <a:gd name="connsiteY94" fmla="*/ 408503 h 541338"/>
                  <a:gd name="connsiteX95" fmla="*/ 620338 w 1123838"/>
                  <a:gd name="connsiteY95" fmla="*/ 408503 h 541338"/>
                  <a:gd name="connsiteX96" fmla="*/ 612477 w 1123838"/>
                  <a:gd name="connsiteY96" fmla="*/ 408503 h 541338"/>
                  <a:gd name="connsiteX97" fmla="*/ 606045 w 1123838"/>
                  <a:gd name="connsiteY97" fmla="*/ 408503 h 541338"/>
                  <a:gd name="connsiteX98" fmla="*/ 598898 w 1123838"/>
                  <a:gd name="connsiteY98" fmla="*/ 408503 h 541338"/>
                  <a:gd name="connsiteX99" fmla="*/ 592466 w 1123838"/>
                  <a:gd name="connsiteY99" fmla="*/ 408503 h 541338"/>
                  <a:gd name="connsiteX100" fmla="*/ 584605 w 1123838"/>
                  <a:gd name="connsiteY100" fmla="*/ 407789 h 541338"/>
                  <a:gd name="connsiteX101" fmla="*/ 578887 w 1123838"/>
                  <a:gd name="connsiteY101" fmla="*/ 407789 h 541338"/>
                  <a:gd name="connsiteX102" fmla="*/ 566738 w 1123838"/>
                  <a:gd name="connsiteY102" fmla="*/ 407075 h 541338"/>
                  <a:gd name="connsiteX103" fmla="*/ 566023 w 1123838"/>
                  <a:gd name="connsiteY103" fmla="*/ 407075 h 541338"/>
                  <a:gd name="connsiteX104" fmla="*/ 485265 w 1123838"/>
                  <a:gd name="connsiteY104" fmla="*/ 401362 h 541338"/>
                  <a:gd name="connsiteX105" fmla="*/ 416656 w 1123838"/>
                  <a:gd name="connsiteY105" fmla="*/ 396362 h 541338"/>
                  <a:gd name="connsiteX106" fmla="*/ 410939 w 1123838"/>
                  <a:gd name="connsiteY106" fmla="*/ 396362 h 541338"/>
                  <a:gd name="connsiteX107" fmla="*/ 407365 w 1123838"/>
                  <a:gd name="connsiteY107" fmla="*/ 396362 h 541338"/>
                  <a:gd name="connsiteX108" fmla="*/ 393072 w 1123838"/>
                  <a:gd name="connsiteY108" fmla="*/ 397791 h 541338"/>
                  <a:gd name="connsiteX109" fmla="*/ 388784 w 1123838"/>
                  <a:gd name="connsiteY109" fmla="*/ 398505 h 541338"/>
                  <a:gd name="connsiteX110" fmla="*/ 388784 w 1123838"/>
                  <a:gd name="connsiteY110" fmla="*/ 399219 h 541338"/>
                  <a:gd name="connsiteX111" fmla="*/ 384496 w 1123838"/>
                  <a:gd name="connsiteY111" fmla="*/ 399933 h 541338"/>
                  <a:gd name="connsiteX112" fmla="*/ 383781 w 1123838"/>
                  <a:gd name="connsiteY112" fmla="*/ 400647 h 541338"/>
                  <a:gd name="connsiteX113" fmla="*/ 379493 w 1123838"/>
                  <a:gd name="connsiteY113" fmla="*/ 402076 h 541338"/>
                  <a:gd name="connsiteX114" fmla="*/ 21441 w 1123838"/>
                  <a:gd name="connsiteY114" fmla="*/ 540624 h 541338"/>
                  <a:gd name="connsiteX115" fmla="*/ 15723 w 1123838"/>
                  <a:gd name="connsiteY115" fmla="*/ 541338 h 541338"/>
                  <a:gd name="connsiteX116" fmla="*/ 7147 w 1123838"/>
                  <a:gd name="connsiteY116" fmla="*/ 538481 h 541338"/>
                  <a:gd name="connsiteX117" fmla="*/ 0 w 1123838"/>
                  <a:gd name="connsiteY117" fmla="*/ 525626 h 541338"/>
                  <a:gd name="connsiteX118" fmla="*/ 0 w 1123838"/>
                  <a:gd name="connsiteY118" fmla="*/ 209251 h 541338"/>
                  <a:gd name="connsiteX119" fmla="*/ 7862 w 1123838"/>
                  <a:gd name="connsiteY119" fmla="*/ 195682 h 541338"/>
                  <a:gd name="connsiteX120" fmla="*/ 310169 w 1123838"/>
                  <a:gd name="connsiteY120" fmla="*/ 24282 h 541338"/>
                  <a:gd name="connsiteX121" fmla="*/ 315887 w 1123838"/>
                  <a:gd name="connsiteY121" fmla="*/ 21425 h 541338"/>
                  <a:gd name="connsiteX122" fmla="*/ 318031 w 1123838"/>
                  <a:gd name="connsiteY122" fmla="*/ 19997 h 541338"/>
                  <a:gd name="connsiteX123" fmla="*/ 320889 w 1123838"/>
                  <a:gd name="connsiteY123" fmla="*/ 18568 h 541338"/>
                  <a:gd name="connsiteX124" fmla="*/ 324463 w 1123838"/>
                  <a:gd name="connsiteY124" fmla="*/ 17140 h 541338"/>
                  <a:gd name="connsiteX125" fmla="*/ 326607 w 1123838"/>
                  <a:gd name="connsiteY125" fmla="*/ 15712 h 541338"/>
                  <a:gd name="connsiteX126" fmla="*/ 330180 w 1123838"/>
                  <a:gd name="connsiteY126" fmla="*/ 14283 h 541338"/>
                  <a:gd name="connsiteX127" fmla="*/ 332324 w 1123838"/>
                  <a:gd name="connsiteY127" fmla="*/ 13569 h 541338"/>
                  <a:gd name="connsiteX128" fmla="*/ 336612 w 1123838"/>
                  <a:gd name="connsiteY128" fmla="*/ 12141 h 541338"/>
                  <a:gd name="connsiteX129" fmla="*/ 338042 w 1123838"/>
                  <a:gd name="connsiteY129" fmla="*/ 11427 h 541338"/>
                  <a:gd name="connsiteX130" fmla="*/ 342330 w 1123838"/>
                  <a:gd name="connsiteY130" fmla="*/ 9998 h 541338"/>
                  <a:gd name="connsiteX131" fmla="*/ 343044 w 1123838"/>
                  <a:gd name="connsiteY131" fmla="*/ 9284 h 541338"/>
                  <a:gd name="connsiteX132" fmla="*/ 348047 w 1123838"/>
                  <a:gd name="connsiteY132" fmla="*/ 7856 h 541338"/>
                  <a:gd name="connsiteX133" fmla="*/ 348762 w 1123838"/>
                  <a:gd name="connsiteY133" fmla="*/ 7856 h 541338"/>
                  <a:gd name="connsiteX134" fmla="*/ 382352 w 1123838"/>
                  <a:gd name="connsiteY134" fmla="*/ 714 h 541338"/>
                  <a:gd name="connsiteX135" fmla="*/ 383781 w 1123838"/>
                  <a:gd name="connsiteY135" fmla="*/ 714 h 541338"/>
                  <a:gd name="connsiteX136" fmla="*/ 387354 w 1123838"/>
                  <a:gd name="connsiteY136" fmla="*/ 714 h 541338"/>
                  <a:gd name="connsiteX137" fmla="*/ 390213 w 1123838"/>
                  <a:gd name="connsiteY137" fmla="*/ 0 h 5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1123838" h="541338">
                    <a:moveTo>
                      <a:pt x="409739" y="31591"/>
                    </a:moveTo>
                    <a:cubicBezTo>
                      <a:pt x="380443" y="30162"/>
                      <a:pt x="351147" y="37308"/>
                      <a:pt x="326138" y="51601"/>
                    </a:cubicBezTo>
                    <a:cubicBezTo>
                      <a:pt x="326138" y="51601"/>
                      <a:pt x="326138" y="51601"/>
                      <a:pt x="31750" y="218820"/>
                    </a:cubicBezTo>
                    <a:cubicBezTo>
                      <a:pt x="31750" y="218820"/>
                      <a:pt x="31750" y="218820"/>
                      <a:pt x="31750" y="503237"/>
                    </a:cubicBezTo>
                    <a:cubicBezTo>
                      <a:pt x="31750" y="503237"/>
                      <a:pt x="31750" y="503237"/>
                      <a:pt x="368296" y="373177"/>
                    </a:cubicBezTo>
                    <a:cubicBezTo>
                      <a:pt x="384730" y="366746"/>
                      <a:pt x="401879" y="363887"/>
                      <a:pt x="419028" y="365316"/>
                    </a:cubicBezTo>
                    <a:cubicBezTo>
                      <a:pt x="419028" y="365316"/>
                      <a:pt x="419028" y="365316"/>
                      <a:pt x="568366" y="376036"/>
                    </a:cubicBezTo>
                    <a:cubicBezTo>
                      <a:pt x="645535" y="381753"/>
                      <a:pt x="722705" y="372463"/>
                      <a:pt x="797017" y="349595"/>
                    </a:cubicBezTo>
                    <a:cubicBezTo>
                      <a:pt x="894908" y="318867"/>
                      <a:pt x="981367" y="261697"/>
                      <a:pt x="1047818" y="183090"/>
                    </a:cubicBezTo>
                    <a:cubicBezTo>
                      <a:pt x="1047818" y="183090"/>
                      <a:pt x="1047818" y="183090"/>
                      <a:pt x="1079972" y="145930"/>
                    </a:cubicBezTo>
                    <a:cubicBezTo>
                      <a:pt x="1098550" y="123777"/>
                      <a:pt x="1096407" y="90904"/>
                      <a:pt x="1074971" y="71610"/>
                    </a:cubicBezTo>
                    <a:cubicBezTo>
                      <a:pt x="1064253" y="62320"/>
                      <a:pt x="1050676" y="57317"/>
                      <a:pt x="1036386" y="58032"/>
                    </a:cubicBezTo>
                    <a:cubicBezTo>
                      <a:pt x="1022095" y="58747"/>
                      <a:pt x="1008519" y="65178"/>
                      <a:pt x="999230" y="75897"/>
                    </a:cubicBezTo>
                    <a:cubicBezTo>
                      <a:pt x="999230" y="75897"/>
                      <a:pt x="999230" y="75897"/>
                      <a:pt x="951356" y="129494"/>
                    </a:cubicBezTo>
                    <a:cubicBezTo>
                      <a:pt x="912771" y="173800"/>
                      <a:pt x="862039" y="205243"/>
                      <a:pt x="805591" y="220964"/>
                    </a:cubicBezTo>
                    <a:cubicBezTo>
                      <a:pt x="740568" y="239544"/>
                      <a:pt x="670544" y="235257"/>
                      <a:pt x="608380" y="210245"/>
                    </a:cubicBezTo>
                    <a:cubicBezTo>
                      <a:pt x="608380" y="210245"/>
                      <a:pt x="608380" y="210245"/>
                      <a:pt x="553360" y="188092"/>
                    </a:cubicBezTo>
                    <a:cubicBezTo>
                      <a:pt x="546930" y="185234"/>
                      <a:pt x="542642" y="178802"/>
                      <a:pt x="544071" y="171656"/>
                    </a:cubicBezTo>
                    <a:cubicBezTo>
                      <a:pt x="544786" y="164510"/>
                      <a:pt x="550502" y="158793"/>
                      <a:pt x="557648" y="158078"/>
                    </a:cubicBezTo>
                    <a:cubicBezTo>
                      <a:pt x="557648" y="158078"/>
                      <a:pt x="557648" y="158078"/>
                      <a:pt x="715560" y="142357"/>
                    </a:cubicBezTo>
                    <a:cubicBezTo>
                      <a:pt x="740568" y="140213"/>
                      <a:pt x="759146" y="119489"/>
                      <a:pt x="759146" y="95192"/>
                    </a:cubicBezTo>
                    <a:cubicBezTo>
                      <a:pt x="759146" y="69466"/>
                      <a:pt x="739139" y="48742"/>
                      <a:pt x="713416" y="47313"/>
                    </a:cubicBezTo>
                    <a:cubicBezTo>
                      <a:pt x="713416" y="47313"/>
                      <a:pt x="713416" y="47313"/>
                      <a:pt x="409739" y="31591"/>
                    </a:cubicBezTo>
                    <a:close/>
                    <a:moveTo>
                      <a:pt x="390213" y="0"/>
                    </a:moveTo>
                    <a:cubicBezTo>
                      <a:pt x="391642" y="0"/>
                      <a:pt x="392357" y="0"/>
                      <a:pt x="393786" y="0"/>
                    </a:cubicBezTo>
                    <a:cubicBezTo>
                      <a:pt x="394501" y="0"/>
                      <a:pt x="395930" y="0"/>
                      <a:pt x="396645" y="0"/>
                    </a:cubicBezTo>
                    <a:cubicBezTo>
                      <a:pt x="398074" y="0"/>
                      <a:pt x="398789" y="0"/>
                      <a:pt x="399504" y="0"/>
                    </a:cubicBezTo>
                    <a:cubicBezTo>
                      <a:pt x="400933" y="0"/>
                      <a:pt x="401648" y="0"/>
                      <a:pt x="403077" y="0"/>
                    </a:cubicBezTo>
                    <a:cubicBezTo>
                      <a:pt x="405221" y="0"/>
                      <a:pt x="408080" y="0"/>
                      <a:pt x="410939" y="0"/>
                    </a:cubicBezTo>
                    <a:cubicBezTo>
                      <a:pt x="410939" y="0"/>
                      <a:pt x="410939" y="0"/>
                      <a:pt x="715390" y="15712"/>
                    </a:cubicBezTo>
                    <a:cubicBezTo>
                      <a:pt x="743263" y="17140"/>
                      <a:pt x="766847" y="33566"/>
                      <a:pt x="780426" y="56419"/>
                    </a:cubicBezTo>
                    <a:cubicBezTo>
                      <a:pt x="781140" y="57848"/>
                      <a:pt x="781855" y="59276"/>
                      <a:pt x="782570" y="60704"/>
                    </a:cubicBezTo>
                    <a:cubicBezTo>
                      <a:pt x="785428" y="66418"/>
                      <a:pt x="787572" y="72845"/>
                      <a:pt x="789002" y="79273"/>
                    </a:cubicBezTo>
                    <a:cubicBezTo>
                      <a:pt x="789716" y="84272"/>
                      <a:pt x="790431" y="89271"/>
                      <a:pt x="790431" y="94984"/>
                    </a:cubicBezTo>
                    <a:cubicBezTo>
                      <a:pt x="790431" y="97127"/>
                      <a:pt x="790431" y="98555"/>
                      <a:pt x="789716" y="100698"/>
                    </a:cubicBezTo>
                    <a:cubicBezTo>
                      <a:pt x="789716" y="100698"/>
                      <a:pt x="789716" y="101412"/>
                      <a:pt x="789716" y="101412"/>
                    </a:cubicBezTo>
                    <a:cubicBezTo>
                      <a:pt x="789716" y="103554"/>
                      <a:pt x="789716" y="104983"/>
                      <a:pt x="789002" y="107125"/>
                    </a:cubicBezTo>
                    <a:cubicBezTo>
                      <a:pt x="786143" y="125693"/>
                      <a:pt x="776852" y="142119"/>
                      <a:pt x="763988" y="154260"/>
                    </a:cubicBezTo>
                    <a:cubicBezTo>
                      <a:pt x="763988" y="154260"/>
                      <a:pt x="763273" y="154260"/>
                      <a:pt x="763273" y="154260"/>
                    </a:cubicBezTo>
                    <a:cubicBezTo>
                      <a:pt x="761844" y="155688"/>
                      <a:pt x="760415" y="156403"/>
                      <a:pt x="758985" y="157831"/>
                    </a:cubicBezTo>
                    <a:cubicBezTo>
                      <a:pt x="757556" y="159259"/>
                      <a:pt x="756127" y="159973"/>
                      <a:pt x="754697" y="160688"/>
                    </a:cubicBezTo>
                    <a:cubicBezTo>
                      <a:pt x="753983" y="161402"/>
                      <a:pt x="753983" y="161402"/>
                      <a:pt x="753983" y="161402"/>
                    </a:cubicBezTo>
                    <a:cubicBezTo>
                      <a:pt x="752553" y="162116"/>
                      <a:pt x="751124" y="163544"/>
                      <a:pt x="749695" y="164258"/>
                    </a:cubicBezTo>
                    <a:cubicBezTo>
                      <a:pt x="748980" y="164258"/>
                      <a:pt x="748265" y="164258"/>
                      <a:pt x="748265" y="164973"/>
                    </a:cubicBezTo>
                    <a:cubicBezTo>
                      <a:pt x="746836" y="165687"/>
                      <a:pt x="745407" y="166401"/>
                      <a:pt x="743263" y="167115"/>
                    </a:cubicBezTo>
                    <a:cubicBezTo>
                      <a:pt x="743263" y="167115"/>
                      <a:pt x="742548" y="167115"/>
                      <a:pt x="742548" y="167829"/>
                    </a:cubicBezTo>
                    <a:cubicBezTo>
                      <a:pt x="741118" y="167829"/>
                      <a:pt x="739689" y="168543"/>
                      <a:pt x="738260" y="169258"/>
                    </a:cubicBezTo>
                    <a:cubicBezTo>
                      <a:pt x="731828" y="171400"/>
                      <a:pt x="725396" y="172828"/>
                      <a:pt x="718964" y="173543"/>
                    </a:cubicBezTo>
                    <a:cubicBezTo>
                      <a:pt x="718964" y="173543"/>
                      <a:pt x="718964" y="173543"/>
                      <a:pt x="624626" y="182827"/>
                    </a:cubicBezTo>
                    <a:cubicBezTo>
                      <a:pt x="662504" y="197110"/>
                      <a:pt x="703241" y="202823"/>
                      <a:pt x="743263" y="199967"/>
                    </a:cubicBezTo>
                    <a:cubicBezTo>
                      <a:pt x="753983" y="199253"/>
                      <a:pt x="764703" y="197824"/>
                      <a:pt x="775423" y="195682"/>
                    </a:cubicBezTo>
                    <a:cubicBezTo>
                      <a:pt x="778996" y="194968"/>
                      <a:pt x="781855" y="194253"/>
                      <a:pt x="785428" y="193539"/>
                    </a:cubicBezTo>
                    <a:cubicBezTo>
                      <a:pt x="786143" y="193539"/>
                      <a:pt x="786143" y="193539"/>
                      <a:pt x="786858" y="192825"/>
                    </a:cubicBezTo>
                    <a:cubicBezTo>
                      <a:pt x="790431" y="192111"/>
                      <a:pt x="793290" y="191397"/>
                      <a:pt x="796863" y="190683"/>
                    </a:cubicBezTo>
                    <a:cubicBezTo>
                      <a:pt x="806869" y="187826"/>
                      <a:pt x="816874" y="184255"/>
                      <a:pt x="826880" y="179970"/>
                    </a:cubicBezTo>
                    <a:cubicBezTo>
                      <a:pt x="857611" y="167829"/>
                      <a:pt x="885483" y="149975"/>
                      <a:pt x="909782" y="127122"/>
                    </a:cubicBezTo>
                    <a:cubicBezTo>
                      <a:pt x="916214" y="121408"/>
                      <a:pt x="921931" y="114981"/>
                      <a:pt x="928363" y="108553"/>
                    </a:cubicBezTo>
                    <a:cubicBezTo>
                      <a:pt x="928363" y="108553"/>
                      <a:pt x="928363" y="108553"/>
                      <a:pt x="975532" y="54991"/>
                    </a:cubicBezTo>
                    <a:cubicBezTo>
                      <a:pt x="976961" y="53563"/>
                      <a:pt x="977676" y="52848"/>
                      <a:pt x="978391" y="51420"/>
                    </a:cubicBezTo>
                    <a:cubicBezTo>
                      <a:pt x="979105" y="51420"/>
                      <a:pt x="979105" y="51420"/>
                      <a:pt x="979105" y="51420"/>
                    </a:cubicBezTo>
                    <a:cubicBezTo>
                      <a:pt x="994114" y="36423"/>
                      <a:pt x="1013410" y="27853"/>
                      <a:pt x="1034135" y="26424"/>
                    </a:cubicBezTo>
                    <a:cubicBezTo>
                      <a:pt x="1034850" y="26424"/>
                      <a:pt x="1034850" y="26424"/>
                      <a:pt x="1034850" y="26424"/>
                    </a:cubicBezTo>
                    <a:cubicBezTo>
                      <a:pt x="1036279" y="26424"/>
                      <a:pt x="1037709" y="26424"/>
                      <a:pt x="1039138" y="26424"/>
                    </a:cubicBezTo>
                    <a:cubicBezTo>
                      <a:pt x="1039138" y="26424"/>
                      <a:pt x="1039853" y="26424"/>
                      <a:pt x="1040567" y="26424"/>
                    </a:cubicBezTo>
                    <a:cubicBezTo>
                      <a:pt x="1054146" y="26424"/>
                      <a:pt x="1067725" y="30709"/>
                      <a:pt x="1079875" y="37137"/>
                    </a:cubicBezTo>
                    <a:cubicBezTo>
                      <a:pt x="1081304" y="37851"/>
                      <a:pt x="1082019" y="38565"/>
                      <a:pt x="1083448" y="39279"/>
                    </a:cubicBezTo>
                    <a:cubicBezTo>
                      <a:pt x="1084877" y="39993"/>
                      <a:pt x="1085592" y="40708"/>
                      <a:pt x="1086307" y="40708"/>
                    </a:cubicBezTo>
                    <a:cubicBezTo>
                      <a:pt x="1087021" y="41422"/>
                      <a:pt x="1087021" y="41422"/>
                      <a:pt x="1087021" y="41422"/>
                    </a:cubicBezTo>
                    <a:cubicBezTo>
                      <a:pt x="1087736" y="42136"/>
                      <a:pt x="1089165" y="42850"/>
                      <a:pt x="1089880" y="43564"/>
                    </a:cubicBezTo>
                    <a:cubicBezTo>
                      <a:pt x="1089880" y="43564"/>
                      <a:pt x="1090595" y="44278"/>
                      <a:pt x="1090595" y="44278"/>
                    </a:cubicBezTo>
                    <a:cubicBezTo>
                      <a:pt x="1091309" y="44993"/>
                      <a:pt x="1092024" y="44993"/>
                      <a:pt x="1092739" y="45707"/>
                    </a:cubicBezTo>
                    <a:cubicBezTo>
                      <a:pt x="1093453" y="46421"/>
                      <a:pt x="1094168" y="47135"/>
                      <a:pt x="1095597" y="47849"/>
                    </a:cubicBezTo>
                    <a:cubicBezTo>
                      <a:pt x="1095597" y="47849"/>
                      <a:pt x="1095597" y="48563"/>
                      <a:pt x="1095597" y="48563"/>
                    </a:cubicBezTo>
                    <a:cubicBezTo>
                      <a:pt x="1129902" y="79273"/>
                      <a:pt x="1133475" y="130693"/>
                      <a:pt x="1103459" y="165687"/>
                    </a:cubicBezTo>
                    <a:cubicBezTo>
                      <a:pt x="1103459" y="165687"/>
                      <a:pt x="1103459" y="165687"/>
                      <a:pt x="1072013" y="203538"/>
                    </a:cubicBezTo>
                    <a:cubicBezTo>
                      <a:pt x="1040567" y="239960"/>
                      <a:pt x="1004834" y="272812"/>
                      <a:pt x="966241" y="299950"/>
                    </a:cubicBezTo>
                    <a:cubicBezTo>
                      <a:pt x="963383" y="302092"/>
                      <a:pt x="959809" y="304235"/>
                      <a:pt x="956950" y="306377"/>
                    </a:cubicBezTo>
                    <a:cubicBezTo>
                      <a:pt x="954092" y="308520"/>
                      <a:pt x="951233" y="310662"/>
                      <a:pt x="948374" y="312091"/>
                    </a:cubicBezTo>
                    <a:cubicBezTo>
                      <a:pt x="904779" y="340657"/>
                      <a:pt x="856896" y="363511"/>
                      <a:pt x="806154" y="379222"/>
                    </a:cubicBezTo>
                    <a:cubicBezTo>
                      <a:pt x="801866" y="380651"/>
                      <a:pt x="797578" y="382079"/>
                      <a:pt x="792575" y="383507"/>
                    </a:cubicBezTo>
                    <a:cubicBezTo>
                      <a:pt x="791146" y="383507"/>
                      <a:pt x="789716" y="384222"/>
                      <a:pt x="788287" y="384222"/>
                    </a:cubicBezTo>
                    <a:cubicBezTo>
                      <a:pt x="785428" y="384936"/>
                      <a:pt x="782570" y="386364"/>
                      <a:pt x="779711" y="387078"/>
                    </a:cubicBezTo>
                    <a:cubicBezTo>
                      <a:pt x="777567" y="387078"/>
                      <a:pt x="775423" y="387792"/>
                      <a:pt x="773994" y="388507"/>
                    </a:cubicBezTo>
                    <a:cubicBezTo>
                      <a:pt x="771135" y="389221"/>
                      <a:pt x="768991" y="389221"/>
                      <a:pt x="766132" y="389935"/>
                    </a:cubicBezTo>
                    <a:cubicBezTo>
                      <a:pt x="763988" y="390649"/>
                      <a:pt x="761844" y="391363"/>
                      <a:pt x="759700" y="392077"/>
                    </a:cubicBezTo>
                    <a:cubicBezTo>
                      <a:pt x="757556" y="392077"/>
                      <a:pt x="756127" y="392792"/>
                      <a:pt x="753983" y="392792"/>
                    </a:cubicBezTo>
                    <a:cubicBezTo>
                      <a:pt x="743977" y="394934"/>
                      <a:pt x="733972" y="397077"/>
                      <a:pt x="724681" y="399219"/>
                    </a:cubicBezTo>
                    <a:cubicBezTo>
                      <a:pt x="723252" y="399219"/>
                      <a:pt x="722537" y="399219"/>
                      <a:pt x="721822" y="399219"/>
                    </a:cubicBezTo>
                    <a:cubicBezTo>
                      <a:pt x="718249" y="399933"/>
                      <a:pt x="714676" y="400647"/>
                      <a:pt x="711102" y="401362"/>
                    </a:cubicBezTo>
                    <a:cubicBezTo>
                      <a:pt x="710387" y="401362"/>
                      <a:pt x="710387" y="401362"/>
                      <a:pt x="709673" y="401362"/>
                    </a:cubicBezTo>
                    <a:cubicBezTo>
                      <a:pt x="689662" y="404218"/>
                      <a:pt x="670366" y="406361"/>
                      <a:pt x="650355" y="407789"/>
                    </a:cubicBezTo>
                    <a:cubicBezTo>
                      <a:pt x="649640" y="407789"/>
                      <a:pt x="648925" y="407789"/>
                      <a:pt x="648211" y="407789"/>
                    </a:cubicBezTo>
                    <a:cubicBezTo>
                      <a:pt x="644637" y="407789"/>
                      <a:pt x="641064" y="407789"/>
                      <a:pt x="637491" y="408503"/>
                    </a:cubicBezTo>
                    <a:cubicBezTo>
                      <a:pt x="636776" y="408503"/>
                      <a:pt x="636061" y="408503"/>
                      <a:pt x="635347" y="408503"/>
                    </a:cubicBezTo>
                    <a:cubicBezTo>
                      <a:pt x="630344" y="408503"/>
                      <a:pt x="626056" y="408503"/>
                      <a:pt x="621053" y="408503"/>
                    </a:cubicBezTo>
                    <a:cubicBezTo>
                      <a:pt x="621053" y="408503"/>
                      <a:pt x="620338" y="408503"/>
                      <a:pt x="620338" y="408503"/>
                    </a:cubicBezTo>
                    <a:cubicBezTo>
                      <a:pt x="617480" y="408503"/>
                      <a:pt x="614621" y="408503"/>
                      <a:pt x="612477" y="408503"/>
                    </a:cubicBezTo>
                    <a:cubicBezTo>
                      <a:pt x="610333" y="408503"/>
                      <a:pt x="608189" y="408503"/>
                      <a:pt x="606045" y="408503"/>
                    </a:cubicBezTo>
                    <a:cubicBezTo>
                      <a:pt x="603901" y="408503"/>
                      <a:pt x="601042" y="408503"/>
                      <a:pt x="598898" y="408503"/>
                    </a:cubicBezTo>
                    <a:cubicBezTo>
                      <a:pt x="596754" y="408503"/>
                      <a:pt x="594610" y="408503"/>
                      <a:pt x="592466" y="408503"/>
                    </a:cubicBezTo>
                    <a:cubicBezTo>
                      <a:pt x="589607" y="408503"/>
                      <a:pt x="587463" y="408503"/>
                      <a:pt x="584605" y="407789"/>
                    </a:cubicBezTo>
                    <a:cubicBezTo>
                      <a:pt x="582461" y="407789"/>
                      <a:pt x="581031" y="407789"/>
                      <a:pt x="578887" y="407789"/>
                    </a:cubicBezTo>
                    <a:cubicBezTo>
                      <a:pt x="575314" y="407789"/>
                      <a:pt x="571026" y="407075"/>
                      <a:pt x="566738" y="407075"/>
                    </a:cubicBezTo>
                    <a:cubicBezTo>
                      <a:pt x="566738" y="407075"/>
                      <a:pt x="566023" y="407075"/>
                      <a:pt x="566023" y="407075"/>
                    </a:cubicBezTo>
                    <a:cubicBezTo>
                      <a:pt x="566023" y="407075"/>
                      <a:pt x="566023" y="407075"/>
                      <a:pt x="485265" y="401362"/>
                    </a:cubicBezTo>
                    <a:cubicBezTo>
                      <a:pt x="485265" y="401362"/>
                      <a:pt x="485265" y="401362"/>
                      <a:pt x="416656" y="396362"/>
                    </a:cubicBezTo>
                    <a:cubicBezTo>
                      <a:pt x="415227" y="396362"/>
                      <a:pt x="413083" y="396362"/>
                      <a:pt x="410939" y="396362"/>
                    </a:cubicBezTo>
                    <a:cubicBezTo>
                      <a:pt x="410224" y="396362"/>
                      <a:pt x="408794" y="396362"/>
                      <a:pt x="407365" y="396362"/>
                    </a:cubicBezTo>
                    <a:cubicBezTo>
                      <a:pt x="402362" y="396362"/>
                      <a:pt x="398074" y="397077"/>
                      <a:pt x="393072" y="397791"/>
                    </a:cubicBezTo>
                    <a:cubicBezTo>
                      <a:pt x="391642" y="398505"/>
                      <a:pt x="390213" y="398505"/>
                      <a:pt x="388784" y="398505"/>
                    </a:cubicBezTo>
                    <a:cubicBezTo>
                      <a:pt x="388784" y="399219"/>
                      <a:pt x="388784" y="399219"/>
                      <a:pt x="388784" y="399219"/>
                    </a:cubicBezTo>
                    <a:cubicBezTo>
                      <a:pt x="387354" y="399219"/>
                      <a:pt x="385925" y="399933"/>
                      <a:pt x="384496" y="399933"/>
                    </a:cubicBezTo>
                    <a:cubicBezTo>
                      <a:pt x="384496" y="399933"/>
                      <a:pt x="384496" y="399933"/>
                      <a:pt x="383781" y="400647"/>
                    </a:cubicBezTo>
                    <a:cubicBezTo>
                      <a:pt x="382352" y="400647"/>
                      <a:pt x="380922" y="401362"/>
                      <a:pt x="379493" y="402076"/>
                    </a:cubicBezTo>
                    <a:cubicBezTo>
                      <a:pt x="379493" y="402076"/>
                      <a:pt x="379493" y="402076"/>
                      <a:pt x="21441" y="540624"/>
                    </a:cubicBezTo>
                    <a:cubicBezTo>
                      <a:pt x="20011" y="541338"/>
                      <a:pt x="17867" y="541338"/>
                      <a:pt x="15723" y="541338"/>
                    </a:cubicBezTo>
                    <a:cubicBezTo>
                      <a:pt x="12864" y="541338"/>
                      <a:pt x="10006" y="540624"/>
                      <a:pt x="7147" y="538481"/>
                    </a:cubicBezTo>
                    <a:cubicBezTo>
                      <a:pt x="2859" y="535625"/>
                      <a:pt x="0" y="530626"/>
                      <a:pt x="0" y="525626"/>
                    </a:cubicBezTo>
                    <a:cubicBezTo>
                      <a:pt x="0" y="525626"/>
                      <a:pt x="0" y="525626"/>
                      <a:pt x="0" y="209251"/>
                    </a:cubicBezTo>
                    <a:cubicBezTo>
                      <a:pt x="0" y="203538"/>
                      <a:pt x="3574" y="198538"/>
                      <a:pt x="7862" y="195682"/>
                    </a:cubicBezTo>
                    <a:cubicBezTo>
                      <a:pt x="7862" y="195682"/>
                      <a:pt x="7862" y="195682"/>
                      <a:pt x="310169" y="24282"/>
                    </a:cubicBezTo>
                    <a:cubicBezTo>
                      <a:pt x="311599" y="22853"/>
                      <a:pt x="313743" y="22139"/>
                      <a:pt x="315887" y="21425"/>
                    </a:cubicBezTo>
                    <a:cubicBezTo>
                      <a:pt x="316601" y="20711"/>
                      <a:pt x="317316" y="20711"/>
                      <a:pt x="318031" y="19997"/>
                    </a:cubicBezTo>
                    <a:cubicBezTo>
                      <a:pt x="318745" y="19283"/>
                      <a:pt x="320175" y="18568"/>
                      <a:pt x="320889" y="18568"/>
                    </a:cubicBezTo>
                    <a:cubicBezTo>
                      <a:pt x="322319" y="17854"/>
                      <a:pt x="323033" y="17140"/>
                      <a:pt x="324463" y="17140"/>
                    </a:cubicBezTo>
                    <a:cubicBezTo>
                      <a:pt x="325177" y="16426"/>
                      <a:pt x="325892" y="16426"/>
                      <a:pt x="326607" y="15712"/>
                    </a:cubicBezTo>
                    <a:cubicBezTo>
                      <a:pt x="328036" y="14998"/>
                      <a:pt x="329466" y="14998"/>
                      <a:pt x="330180" y="14283"/>
                    </a:cubicBezTo>
                    <a:cubicBezTo>
                      <a:pt x="330895" y="14283"/>
                      <a:pt x="331610" y="13569"/>
                      <a:pt x="332324" y="13569"/>
                    </a:cubicBezTo>
                    <a:cubicBezTo>
                      <a:pt x="333754" y="12855"/>
                      <a:pt x="335183" y="12141"/>
                      <a:pt x="336612" y="12141"/>
                    </a:cubicBezTo>
                    <a:cubicBezTo>
                      <a:pt x="336612" y="11427"/>
                      <a:pt x="337327" y="11427"/>
                      <a:pt x="338042" y="11427"/>
                    </a:cubicBezTo>
                    <a:cubicBezTo>
                      <a:pt x="339471" y="10713"/>
                      <a:pt x="340900" y="9998"/>
                      <a:pt x="342330" y="9998"/>
                    </a:cubicBezTo>
                    <a:cubicBezTo>
                      <a:pt x="343044" y="9284"/>
                      <a:pt x="343044" y="9284"/>
                      <a:pt x="343044" y="9284"/>
                    </a:cubicBezTo>
                    <a:cubicBezTo>
                      <a:pt x="345188" y="8570"/>
                      <a:pt x="346618" y="8570"/>
                      <a:pt x="348047" y="7856"/>
                    </a:cubicBezTo>
                    <a:cubicBezTo>
                      <a:pt x="348762" y="7856"/>
                      <a:pt x="348762" y="7856"/>
                      <a:pt x="348762" y="7856"/>
                    </a:cubicBezTo>
                    <a:cubicBezTo>
                      <a:pt x="360197" y="4285"/>
                      <a:pt x="370917" y="2143"/>
                      <a:pt x="382352" y="714"/>
                    </a:cubicBezTo>
                    <a:cubicBezTo>
                      <a:pt x="383066" y="714"/>
                      <a:pt x="383781" y="714"/>
                      <a:pt x="383781" y="714"/>
                    </a:cubicBezTo>
                    <a:cubicBezTo>
                      <a:pt x="385210" y="714"/>
                      <a:pt x="386640" y="714"/>
                      <a:pt x="387354" y="714"/>
                    </a:cubicBezTo>
                    <a:cubicBezTo>
                      <a:pt x="388784" y="714"/>
                      <a:pt x="389498" y="714"/>
                      <a:pt x="3902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839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/&gt;&lt;/element&gt;&lt;element field=&quot;pageno&quot; type=&quot;autoshape&quot; autoShapeType=&quot;1&quot;&gt;&lt;paragraphformat alignment=&quot;3&quot; /&gt;&lt;font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relativeSize=&quot;0.75&quot; /&gt;&lt;/element&gt;&lt;element field=&quot;pageno&quot; type=&quot;autoshape&quot; autoShapeType=&quot;1&quot;&gt;&lt;paragraphformat alignment=&quot;3&quot; /&gt;&lt;font color=&quot;13:0.4&quot; relativeSize=&quot;0.75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 /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0&quot; layoutId=&quot;227_1-4&quot; hideSeparatingSlides=&quot;0&quot; createSections=&quot;0&quot; singleSlideId=&quot;2659ce32-832f-409c-8666-a27f5817526e&quot; backupSlideId=&quot;&quot;&gt;&lt;columns leftSpacing=&quot;0&quot; rightSpacing=&quot;0&quot;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65.70847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8d5cf23a-22e0-4984-b8fb-526692858791&quot; parentId=&quot;&quot; level=&quot;1&quot; generateAgendaSlide=&quot;1&quot; showAgendaItem=&quot;1&quot; isBreak=&quot;0&quot; topic=&quot;Σύνοψη&quot; agendaSlideId=&quot;3dee7912-abe3-498d-8cc4-cf047e139617&quot; /&gt;&lt;item duration=&quot;30&quot; id=&quot;1c6f6ae1-8b2b-4bb7-a926-f9822e573e3d&quot; parentId=&quot;&quot; level=&quot;1&quot; generateAgendaSlide=&quot;1&quot; showAgendaItem=&quot;1&quot; isBreak=&quot;0&quot; topic=&quot;Όραμα και εμβληματικές επενδύσεις&quot; agendaSlideId=&quot;b0d558dd-64b9-46cc-b969-f92c6da6912a&quot; /&gt;&lt;item duration=&quot;30&quot; id=&quot;b0911f6c-4ed9-4927-8f98-ae496f8579de&quot; parentId=&quot;&quot; level=&quot;1&quot; generateAgendaSlide=&quot;1&quot; showAgendaItem=&quot;1&quot; isBreak=&quot;0&quot; topic=&quot;Επανακατάρτιση ανθρώπινου δυναμικού&quot; agendaSlideId=&quot;1c2affe4-a86b-431e-bed5-d2628667dd98&quot; /&gt;&lt;item duration=&quot;30&quot; id=&quot;ab18025a-f1e5-458c-a1ba-a7d5fcf154d5&quot; parentId=&quot;&quot; level=&quot;1&quot; generateAgendaSlide=&quot;1&quot; showAgendaItem=&quot;1&quot; isBreak=&quot;0&quot; topic=&quot;Κίνητρα επενδύσεων&quot; agendaSlideId=&quot;eb71b37f-8385-4c10-bcb4-d2fb315daa7f&quot; /&gt;&lt;item duration=&quot;30&quot; id=&quot;aec4b915-0de6-4c8f-ad61-06f8aea11f54&quot; parentId=&quot;&quot; level=&quot;1&quot; generateAgendaSlide=&quot;1&quot; showAgendaItem=&quot;1&quot; isBreak=&quot;0&quot; topic=&quot;Χρήσεις γης&quot; agendaSlideId=&quot;0f1bd0b4-75d4-4675-9a51-b43c13cd2be4&quot; /&gt;&lt;item duration=&quot;30&quot; id=&quot;99b37cb9-8109-4a53-b455-4f01e12bffd0&quot; parentId=&quot;&quot; level=&quot;1&quot; generateAgendaSlide=&quot;1&quot; showAgendaItem=&quot;1&quot; isBreak=&quot;0&quot; topic=&quot;Επόμενα βήματα&quot; agendaSlideId=&quot;871549ef-0424-45cb-9529-3cd19eed30a0&quot; /&gt;&lt;/items&gt;&lt;/agenda&gt;&lt;/contents&gt;&lt;/ee4p&gt;"/>
  <p:tag name="EE4P_STYLE_ID" val="39dcc26a-7131-49f4-a9eb-1c0521500c03"/>
  <p:tag name="THINKCELLPRESENTATIONDONOTDELETE" val="&lt;?xml version=&quot;1.0&quot; encoding=&quot;UTF-16&quot; standalone=&quot;yes&quot;?&gt;&lt;root reqver=&quot;25060&quot;&gt;&lt;version val=&quot;283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7&quot;&gt;&lt;elem m_fUsage=&quot;2.73873790000000028044E+00&quot;&gt;&lt;m_msothmcolidx val=&quot;0&quot;/&gt;&lt;m_rgb r=&quot;56&quot; g=&quot;A6&quot; b=&quot;FE&quot;/&gt;&lt;m_nBrightness endver=&quot;26206&quot; val=&quot;0&quot;/&gt;&lt;/elem&gt;&lt;elem m_fUsage=&quot;2.32030588908346091515E+00&quot;&gt;&lt;m_msothmcolidx val=&quot;0&quot;/&gt;&lt;m_rgb r=&quot;01&quot; g=&quot;96&quot; b=&quot;C0&quot;/&gt;&lt;m_nBrightness endver=&quot;26206&quot; val=&quot;0&quot;/&gt;&lt;/elem&gt;&lt;elem m_fUsage=&quot;1.65467658283290042220E+00&quot;&gt;&lt;m_msothmcolidx val=&quot;0&quot;/&gt;&lt;m_rgb r=&quot;1F&quot; g=&quot;46&quot; b=&quot;5F&quot;/&gt;&lt;m_nBrightness endver=&quot;26206&quot; val=&quot;0&quot;/&gt;&lt;/elem&gt;&lt;elem m_fUsage=&quot;7.84598007659849328022E-01&quot;&gt;&lt;m_msothmcolidx val=&quot;0&quot;/&gt;&lt;m_rgb r=&quot;2E&quot; g=&quot;66&quot; b=&quot;8B&quot;/&gt;&lt;m_nBrightness endver=&quot;26206&quot; val=&quot;0&quot;/&gt;&lt;/elem&gt;&lt;elem m_fUsage=&quot;5.77446364649610299757E-01&quot;&gt;&lt;m_msothmcolidx val=&quot;0&quot;/&gt;&lt;m_rgb r=&quot;6C&quot; g=&quot;B8&quot; b=&quot;D0&quot;/&gt;&lt;m_nBrightness endver=&quot;26206&quot; val=&quot;0&quot;/&gt;&lt;/elem&gt;&lt;elem m_fUsage=&quot;5.08997143590569467442E-01&quot;&gt;&lt;m_msothmcolidx val=&quot;0&quot;/&gt;&lt;m_rgb r=&quot;34&quot; g=&quot;94&quot; b=&quot;FE&quot;/&gt;&lt;m_nBrightness endver=&quot;26206&quot; val=&quot;0&quot;/&gt;&lt;/elem&gt;&lt;elem m_fUsage=&quot;4.30467210000000155556E-01&quot;&gt;&lt;m_msothmcolidx val=&quot;0&quot;/&gt;&lt;m_rgb r=&quot;6B&quot; g=&quot;B1&quot; b=&quot;FE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0Cn.3teLiTQl2pxmA.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Arrow half"/>
  <p:tag name="EE4P_LAYOUT_ID" val="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lIzoYx4ml_sN1FZhGL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1KWSBns.RbDWfgVGy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tXRkFBmkyJDhTEg.D1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NG2v3gW2pHQ3Ijck83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Green one third"/>
  <p:tag name="EE4P_LAYOUT_ID" val="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FT6hh3t2SnuDzCEde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zSL4FVtJmS7icYKhDfW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B2XLZUZ9oMM9mkE9jl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p1vZf37MRGWZdbG0pvj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p1vZf37MRGWZdbG0pv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CfkVrWsb0A_AMKbgZT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CAP Grid 16:9">
  <a:themeElements>
    <a:clrScheme name="1111greece">
      <a:dk1>
        <a:srgbClr val="646464"/>
      </a:dk1>
      <a:lt1>
        <a:sysClr val="window" lastClr="FFFFFF"/>
      </a:lt1>
      <a:dk2>
        <a:srgbClr val="0070C0"/>
      </a:dk2>
      <a:lt2>
        <a:srgbClr val="F2F2F2"/>
      </a:lt2>
      <a:accent1>
        <a:srgbClr val="003860"/>
      </a:accent1>
      <a:accent2>
        <a:srgbClr val="00518E"/>
      </a:accent2>
      <a:accent3>
        <a:srgbClr val="D4DF33"/>
      </a:accent3>
      <a:accent4>
        <a:srgbClr val="40B0FF"/>
      </a:accent4>
      <a:accent5>
        <a:srgbClr val="787878"/>
      </a:accent5>
      <a:accent6>
        <a:srgbClr val="703529"/>
      </a:accent6>
      <a:hlink>
        <a:srgbClr val="002060"/>
      </a:hlink>
      <a:folHlink>
        <a:srgbClr val="00206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DAM_Master plan_Final Draft_20200909_vsent</Template>
  <TotalTime>0</TotalTime>
  <Words>1181</Words>
  <Application>Microsoft Office PowerPoint</Application>
  <PresentationFormat>Widescreen</PresentationFormat>
  <Paragraphs>161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Trebuchet MS</vt:lpstr>
      <vt:lpstr>Wingdings</vt:lpstr>
      <vt:lpstr>HCAP Grid 16:9</vt:lpstr>
      <vt:lpstr>think-cell Slide</vt:lpstr>
      <vt:lpstr>Σχέδιο δίκαιης αναπτυξιακής μετάβασης των λιγνιτικών περιοχών</vt:lpstr>
      <vt:lpstr>Οι κύριοι λόγοι για την απολιγνιτοποίηση…</vt:lpstr>
      <vt:lpstr>Στην Ελλάδα, &gt;80% της λιγνιτικής ισχύος σχεδιάζεται να αφαιρεθεί μέχρι το 2023</vt:lpstr>
      <vt:lpstr>12 βήματα προς τη μετα-λιγνιτική εποχή</vt:lpstr>
      <vt:lpstr>Η ρήτρα δίκαιης μετάβασης καταλυτικός παράγοντας στην επιτάχυνση και υλοποίηση επενδύσεων στις επηρεαζόμενες περιοχές</vt:lpstr>
      <vt:lpstr>Το όραμα για την «επόμενη μέρα» βασίζεται σε πέντε βασικούς πυλώνες ανάπτυξης, υποστηριζόμενους από οριζόντιες δράσεις</vt:lpstr>
      <vt:lpstr>16 μεγάλες επενδύσεις σε Δ. Μακεδονία και Μεγαλόπολη</vt:lpstr>
      <vt:lpstr>Προσδιορισμός κινήτρων: πλαίσιο παραμέτρων που  διαμορφώνει τις σχετικές απαιτήσεις για ενίσχυση </vt:lpstr>
      <vt:lpstr>Προσδιορισμός κινήτρων: Νέα προτεινόμενα όρια</vt:lpstr>
      <vt:lpstr>Πλάνο χρηματοδότησης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Σχέδιο δίκαιης αναπτυξιακής μετάβασης των λιγνιτικών περιοχών</dc:title>
  <dc:creator>ΣΥΜΒΟΥΛΟΙ ΣΔΑΜ (SDAM Advisors)</dc:creator>
  <cp:lastModifiedBy>Sinis, Stefanos</cp:lastModifiedBy>
  <cp:revision>87</cp:revision>
  <dcterms:created xsi:type="dcterms:W3CDTF">2020-09-08T22:48:34Z</dcterms:created>
  <dcterms:modified xsi:type="dcterms:W3CDTF">2020-09-09T14:26:42Z</dcterms:modified>
</cp:coreProperties>
</file>